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293" r:id="rId2"/>
    <p:sldId id="259" r:id="rId3"/>
    <p:sldId id="306" r:id="rId4"/>
    <p:sldId id="327" r:id="rId5"/>
    <p:sldId id="314" r:id="rId6"/>
    <p:sldId id="328" r:id="rId7"/>
    <p:sldId id="300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B77A"/>
    <a:srgbClr val="FFFFFF"/>
    <a:srgbClr val="DEF1E4"/>
    <a:srgbClr val="56565A"/>
    <a:srgbClr val="5656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68" autoAdjust="0"/>
    <p:restoredTop sz="94660"/>
  </p:normalViewPr>
  <p:slideViewPr>
    <p:cSldViewPr snapToGrid="0">
      <p:cViewPr varScale="1">
        <p:scale>
          <a:sx n="72" d="100"/>
          <a:sy n="72" d="100"/>
        </p:scale>
        <p:origin x="6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35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2606258-277A-4A09-88D5-8BF7EBD77605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1AC3742A-DD03-446F-A3E2-F01507AB705A}">
      <dgm:prSet phldrT="[Text]" custT="1"/>
      <dgm:spPr>
        <a:solidFill>
          <a:srgbClr val="565650"/>
        </a:solidFill>
      </dgm:spPr>
      <dgm:t>
        <a:bodyPr/>
        <a:lstStyle/>
        <a:p>
          <a:r>
            <a:rPr lang="de-DE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Camps</a:t>
          </a:r>
          <a:endParaRPr lang="de-DE" sz="10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D473BD9-BFB8-409A-A436-9AE6426A4D2A}" type="parTrans" cxnId="{8ABB2990-8A05-459D-9750-C2F7A30DC947}">
      <dgm:prSet/>
      <dgm:spPr/>
      <dgm:t>
        <a:bodyPr/>
        <a:lstStyle/>
        <a:p>
          <a:endParaRPr lang="de-DE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770F20B-237A-433B-8A71-D02A8BDD6CA8}" type="sibTrans" cxnId="{8ABB2990-8A05-459D-9750-C2F7A30DC947}">
      <dgm:prSet/>
      <dgm:spPr/>
      <dgm:t>
        <a:bodyPr/>
        <a:lstStyle/>
        <a:p>
          <a:endParaRPr lang="de-DE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37CA5D9-C68D-4982-820D-3956992D2D30}">
      <dgm:prSet phldrT="[Text]" custT="1"/>
      <dgm:spPr>
        <a:solidFill>
          <a:srgbClr val="565650"/>
        </a:solidFill>
      </dgm:spPr>
      <dgm:t>
        <a:bodyPr/>
        <a:lstStyle/>
        <a:p>
          <a:r>
            <a:rPr lang="de-DE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Ferien-camps</a:t>
          </a:r>
          <a:endParaRPr lang="de-DE" sz="15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C2407B-269D-415C-893C-D4D9FE6EF9BD}" type="parTrans" cxnId="{13D63732-9E2B-40B8-92F4-F51859FCA2E0}">
      <dgm:prSet/>
      <dgm:spPr/>
      <dgm:t>
        <a:bodyPr/>
        <a:lstStyle/>
        <a:p>
          <a:endParaRPr lang="de-DE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7BC5239-F5E0-4047-B679-ADBDD3BD848A}" type="sibTrans" cxnId="{13D63732-9E2B-40B8-92F4-F51859FCA2E0}">
      <dgm:prSet/>
      <dgm:spPr/>
      <dgm:t>
        <a:bodyPr/>
        <a:lstStyle/>
        <a:p>
          <a:endParaRPr lang="de-DE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C4DC973-2C8F-440D-877E-6B4722DAAADC}">
      <dgm:prSet custT="1"/>
      <dgm:spPr>
        <a:solidFill>
          <a:srgbClr val="565650"/>
        </a:solidFill>
      </dgm:spPr>
      <dgm:t>
        <a:bodyPr/>
        <a:lstStyle/>
        <a:p>
          <a:r>
            <a:rPr lang="de-DE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Aktivitäten im Setting</a:t>
          </a:r>
        </a:p>
      </dgm:t>
    </dgm:pt>
    <dgm:pt modelId="{E5DA4216-A5A4-49BF-9377-8825F9CF10C5}" type="parTrans" cxnId="{14B26DE8-9A95-4B3E-BA29-3062CF99890C}">
      <dgm:prSet/>
      <dgm:spPr/>
      <dgm:t>
        <a:bodyPr/>
        <a:lstStyle/>
        <a:p>
          <a:endParaRPr lang="de-DE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1F40EB7-3AAC-42D2-A608-B190045EE591}" type="sibTrans" cxnId="{14B26DE8-9A95-4B3E-BA29-3062CF99890C}">
      <dgm:prSet/>
      <dgm:spPr/>
      <dgm:t>
        <a:bodyPr/>
        <a:lstStyle/>
        <a:p>
          <a:endParaRPr lang="de-DE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7055F13-7B68-4F11-94B9-73DAB57501AD}">
      <dgm:prSet custT="1"/>
      <dgm:spPr>
        <a:solidFill>
          <a:srgbClr val="565650"/>
        </a:solidFill>
      </dgm:spPr>
      <dgm:t>
        <a:bodyPr/>
        <a:lstStyle/>
        <a:p>
          <a:r>
            <a:rPr lang="de-DE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Gesundheits-hunderter</a:t>
          </a:r>
          <a:endParaRPr lang="de-DE" sz="105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B009E7F-92E9-4784-9675-E7B1A4B064CE}" type="parTrans" cxnId="{5CB8B6B7-6612-4A9A-8ABD-A586234CB8AA}">
      <dgm:prSet/>
      <dgm:spPr/>
      <dgm:t>
        <a:bodyPr/>
        <a:lstStyle/>
        <a:p>
          <a:endParaRPr lang="de-DE"/>
        </a:p>
      </dgm:t>
    </dgm:pt>
    <dgm:pt modelId="{56CE6A5C-8AC2-48D0-AAB0-934DE63969AF}" type="sibTrans" cxnId="{5CB8B6B7-6612-4A9A-8ABD-A586234CB8AA}">
      <dgm:prSet/>
      <dgm:spPr/>
      <dgm:t>
        <a:bodyPr/>
        <a:lstStyle/>
        <a:p>
          <a:endParaRPr lang="de-DE"/>
        </a:p>
      </dgm:t>
    </dgm:pt>
    <dgm:pt modelId="{F3DA80EC-5D6F-450B-91F2-B7B7A93F574D}">
      <dgm:prSet custT="1"/>
      <dgm:spPr>
        <a:solidFill>
          <a:srgbClr val="565650"/>
        </a:solidFill>
      </dgm:spPr>
      <dgm:t>
        <a:bodyPr/>
        <a:lstStyle/>
        <a:p>
          <a:r>
            <a:rPr lang="de-DE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Webinare/ Vorträge</a:t>
          </a:r>
          <a:endParaRPr lang="de-DE" sz="10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94CBE60-07AA-4318-907D-E1448B481B1F}" type="parTrans" cxnId="{C1E61CA0-AC20-445D-A288-01B8851C33F5}">
      <dgm:prSet/>
      <dgm:spPr/>
      <dgm:t>
        <a:bodyPr/>
        <a:lstStyle/>
        <a:p>
          <a:endParaRPr lang="de-DE"/>
        </a:p>
      </dgm:t>
    </dgm:pt>
    <dgm:pt modelId="{FAA430F9-6035-4843-8A8E-1D0DAA68CB54}" type="sibTrans" cxnId="{C1E61CA0-AC20-445D-A288-01B8851C33F5}">
      <dgm:prSet/>
      <dgm:spPr/>
      <dgm:t>
        <a:bodyPr/>
        <a:lstStyle/>
        <a:p>
          <a:endParaRPr lang="de-DE"/>
        </a:p>
      </dgm:t>
    </dgm:pt>
    <dgm:pt modelId="{71F6DCF5-6822-42F3-BE88-917ECBFA03AE}">
      <dgm:prSet custT="1"/>
      <dgm:spPr>
        <a:solidFill>
          <a:srgbClr val="5CB77A"/>
        </a:solidFill>
      </dgm:spPr>
      <dgm:t>
        <a:bodyPr/>
        <a:lstStyle/>
        <a:p>
          <a:r>
            <a:rPr lang="de-DE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Gesundheits-wochen</a:t>
          </a:r>
          <a:endParaRPr lang="de-DE" sz="1000" dirty="0">
            <a:solidFill>
              <a:schemeClr val="bg1"/>
            </a:solidFill>
          </a:endParaRPr>
        </a:p>
      </dgm:t>
    </dgm:pt>
    <dgm:pt modelId="{E2DE5A51-E4F0-467C-ADE3-E196A837F171}" type="parTrans" cxnId="{682F47D5-AB8E-480B-A355-5EA75F62C56F}">
      <dgm:prSet/>
      <dgm:spPr/>
      <dgm:t>
        <a:bodyPr/>
        <a:lstStyle/>
        <a:p>
          <a:endParaRPr lang="de-DE"/>
        </a:p>
      </dgm:t>
    </dgm:pt>
    <dgm:pt modelId="{A7A12E72-D152-4622-91FD-95D1165A765C}" type="sibTrans" cxnId="{682F47D5-AB8E-480B-A355-5EA75F62C56F}">
      <dgm:prSet/>
      <dgm:spPr/>
      <dgm:t>
        <a:bodyPr/>
        <a:lstStyle/>
        <a:p>
          <a:endParaRPr lang="de-DE"/>
        </a:p>
      </dgm:t>
    </dgm:pt>
    <dgm:pt modelId="{54920D33-BBA4-4495-8783-05A34B6821AD}">
      <dgm:prSet custT="1"/>
      <dgm:spPr>
        <a:solidFill>
          <a:srgbClr val="565650"/>
        </a:solidFill>
      </dgm:spPr>
      <dgm:t>
        <a:bodyPr/>
        <a:lstStyle/>
        <a:p>
          <a:r>
            <a:rPr lang="de-DE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Kur/Reha</a:t>
          </a:r>
          <a:endParaRPr lang="de-DE" sz="21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2017B80-67DB-4E91-88F3-EE3B70B45316}" type="parTrans" cxnId="{07C363CC-78AA-41DB-BE49-938B92401AAD}">
      <dgm:prSet/>
      <dgm:spPr/>
      <dgm:t>
        <a:bodyPr/>
        <a:lstStyle/>
        <a:p>
          <a:endParaRPr lang="de-DE"/>
        </a:p>
      </dgm:t>
    </dgm:pt>
    <dgm:pt modelId="{10BE1DD0-E36C-49BE-BE40-9390958D73AD}" type="sibTrans" cxnId="{07C363CC-78AA-41DB-BE49-938B92401AAD}">
      <dgm:prSet/>
      <dgm:spPr/>
      <dgm:t>
        <a:bodyPr/>
        <a:lstStyle/>
        <a:p>
          <a:endParaRPr lang="de-DE"/>
        </a:p>
      </dgm:t>
    </dgm:pt>
    <dgm:pt modelId="{0CA3F7A8-F1F4-4FB7-9A5B-4C8BCCD227C9}" type="pres">
      <dgm:prSet presAssocID="{C2606258-277A-4A09-88D5-8BF7EBD77605}" presName="CompostProcess" presStyleCnt="0">
        <dgm:presLayoutVars>
          <dgm:dir/>
          <dgm:resizeHandles val="exact"/>
        </dgm:presLayoutVars>
      </dgm:prSet>
      <dgm:spPr/>
    </dgm:pt>
    <dgm:pt modelId="{8CE72848-2EC0-4BE9-B2A6-6CB25049ECD9}" type="pres">
      <dgm:prSet presAssocID="{C2606258-277A-4A09-88D5-8BF7EBD77605}" presName="arrow" presStyleLbl="bgShp" presStyleIdx="0" presStyleCnt="1" custScaleX="117647" custLinFactNeighborX="29872" custLinFactNeighborY="46376"/>
      <dgm:spPr>
        <a:solidFill>
          <a:schemeClr val="bg1"/>
        </a:solidFill>
      </dgm:spPr>
    </dgm:pt>
    <dgm:pt modelId="{58CA6899-0DE5-4AAE-8FC5-364E95ADEBDC}" type="pres">
      <dgm:prSet presAssocID="{C2606258-277A-4A09-88D5-8BF7EBD77605}" presName="linearProcess" presStyleCnt="0"/>
      <dgm:spPr/>
    </dgm:pt>
    <dgm:pt modelId="{A8E0BA27-CB08-41E7-AD3A-E9C1DB6BBC87}" type="pres">
      <dgm:prSet presAssocID="{F7055F13-7B68-4F11-94B9-73DAB57501AD}" presName="textNode" presStyleLbl="node1" presStyleIdx="0" presStyleCnt="7" custScaleX="127917">
        <dgm:presLayoutVars>
          <dgm:bulletEnabled val="1"/>
        </dgm:presLayoutVars>
      </dgm:prSet>
      <dgm:spPr/>
    </dgm:pt>
    <dgm:pt modelId="{975A2E8A-AD07-407E-9C4F-72683798E5CE}" type="pres">
      <dgm:prSet presAssocID="{56CE6A5C-8AC2-48D0-AAB0-934DE63969AF}" presName="sibTrans" presStyleCnt="0"/>
      <dgm:spPr/>
    </dgm:pt>
    <dgm:pt modelId="{25C88A7F-3AAC-4B1E-8CC6-1092DF3C7CBC}" type="pres">
      <dgm:prSet presAssocID="{F3DA80EC-5D6F-450B-91F2-B7B7A93F574D}" presName="textNode" presStyleLbl="node1" presStyleIdx="1" presStyleCnt="7">
        <dgm:presLayoutVars>
          <dgm:bulletEnabled val="1"/>
        </dgm:presLayoutVars>
      </dgm:prSet>
      <dgm:spPr/>
    </dgm:pt>
    <dgm:pt modelId="{F8F0BFA1-C4DD-45FB-AE60-066E3C7BBF9D}" type="pres">
      <dgm:prSet presAssocID="{FAA430F9-6035-4843-8A8E-1D0DAA68CB54}" presName="sibTrans" presStyleCnt="0"/>
      <dgm:spPr/>
    </dgm:pt>
    <dgm:pt modelId="{E7CB71EB-9EEC-49B4-9DE7-6794D7493C3B}" type="pres">
      <dgm:prSet presAssocID="{1AC3742A-DD03-446F-A3E2-F01507AB705A}" presName="textNode" presStyleLbl="node1" presStyleIdx="2" presStyleCnt="7">
        <dgm:presLayoutVars>
          <dgm:bulletEnabled val="1"/>
        </dgm:presLayoutVars>
      </dgm:prSet>
      <dgm:spPr/>
    </dgm:pt>
    <dgm:pt modelId="{5B66B44F-2050-455D-AEBB-2ECC6074E9FF}" type="pres">
      <dgm:prSet presAssocID="{0770F20B-237A-433B-8A71-D02A8BDD6CA8}" presName="sibTrans" presStyleCnt="0"/>
      <dgm:spPr/>
    </dgm:pt>
    <dgm:pt modelId="{AFD7CEDA-180E-4E48-8CA0-2A866C28D51E}" type="pres">
      <dgm:prSet presAssocID="{71F6DCF5-6822-42F3-BE88-917ECBFA03AE}" presName="textNode" presStyleLbl="node1" presStyleIdx="3" presStyleCnt="7" custScaleX="122938">
        <dgm:presLayoutVars>
          <dgm:bulletEnabled val="1"/>
        </dgm:presLayoutVars>
      </dgm:prSet>
      <dgm:spPr/>
    </dgm:pt>
    <dgm:pt modelId="{E232459D-B6A2-49DA-B7C0-CE5FF5494922}" type="pres">
      <dgm:prSet presAssocID="{A7A12E72-D152-4622-91FD-95D1165A765C}" presName="sibTrans" presStyleCnt="0"/>
      <dgm:spPr/>
    </dgm:pt>
    <dgm:pt modelId="{A1FA22B6-FB26-4389-9B8F-082EB12D749D}" type="pres">
      <dgm:prSet presAssocID="{337CA5D9-C68D-4982-820D-3956992D2D30}" presName="textNode" presStyleLbl="node1" presStyleIdx="4" presStyleCnt="7">
        <dgm:presLayoutVars>
          <dgm:bulletEnabled val="1"/>
        </dgm:presLayoutVars>
      </dgm:prSet>
      <dgm:spPr/>
    </dgm:pt>
    <dgm:pt modelId="{DB12EA00-A453-47D9-900B-5F5154DB54FD}" type="pres">
      <dgm:prSet presAssocID="{47BC5239-F5E0-4047-B679-ADBDD3BD848A}" presName="sibTrans" presStyleCnt="0"/>
      <dgm:spPr/>
    </dgm:pt>
    <dgm:pt modelId="{DEB6E6F7-3FB1-42D6-8526-1AF8567B487F}" type="pres">
      <dgm:prSet presAssocID="{3C4DC973-2C8F-440D-877E-6B4722DAAADC}" presName="textNode" presStyleLbl="node1" presStyleIdx="5" presStyleCnt="7">
        <dgm:presLayoutVars>
          <dgm:bulletEnabled val="1"/>
        </dgm:presLayoutVars>
      </dgm:prSet>
      <dgm:spPr/>
    </dgm:pt>
    <dgm:pt modelId="{DC28D250-A6D3-4EFB-8EF7-833B505695DC}" type="pres">
      <dgm:prSet presAssocID="{21F40EB7-3AAC-42D2-A608-B190045EE591}" presName="sibTrans" presStyleCnt="0"/>
      <dgm:spPr/>
    </dgm:pt>
    <dgm:pt modelId="{FE46FF4B-74A7-4C0D-80A0-6A3A89611415}" type="pres">
      <dgm:prSet presAssocID="{54920D33-BBA4-4495-8783-05A34B6821AD}" presName="textNode" presStyleLbl="node1" presStyleIdx="6" presStyleCnt="7">
        <dgm:presLayoutVars>
          <dgm:bulletEnabled val="1"/>
        </dgm:presLayoutVars>
      </dgm:prSet>
      <dgm:spPr/>
    </dgm:pt>
  </dgm:ptLst>
  <dgm:cxnLst>
    <dgm:cxn modelId="{0E279F0C-D775-4021-A66D-C63E46C0E115}" type="presOf" srcId="{337CA5D9-C68D-4982-820D-3956992D2D30}" destId="{A1FA22B6-FB26-4389-9B8F-082EB12D749D}" srcOrd="0" destOrd="0" presId="urn:microsoft.com/office/officeart/2005/8/layout/hProcess9"/>
    <dgm:cxn modelId="{13D63732-9E2B-40B8-92F4-F51859FCA2E0}" srcId="{C2606258-277A-4A09-88D5-8BF7EBD77605}" destId="{337CA5D9-C68D-4982-820D-3956992D2D30}" srcOrd="4" destOrd="0" parTransId="{E2C2407B-269D-415C-893C-D4D9FE6EF9BD}" sibTransId="{47BC5239-F5E0-4047-B679-ADBDD3BD848A}"/>
    <dgm:cxn modelId="{4E948787-48F0-48B4-B809-3E48234AACE2}" type="presOf" srcId="{3C4DC973-2C8F-440D-877E-6B4722DAAADC}" destId="{DEB6E6F7-3FB1-42D6-8526-1AF8567B487F}" srcOrd="0" destOrd="0" presId="urn:microsoft.com/office/officeart/2005/8/layout/hProcess9"/>
    <dgm:cxn modelId="{8ABB2990-8A05-459D-9750-C2F7A30DC947}" srcId="{C2606258-277A-4A09-88D5-8BF7EBD77605}" destId="{1AC3742A-DD03-446F-A3E2-F01507AB705A}" srcOrd="2" destOrd="0" parTransId="{DD473BD9-BFB8-409A-A436-9AE6426A4D2A}" sibTransId="{0770F20B-237A-433B-8A71-D02A8BDD6CA8}"/>
    <dgm:cxn modelId="{F6C21491-2EC7-4B79-8B2F-BCC693EE5D2D}" type="presOf" srcId="{71F6DCF5-6822-42F3-BE88-917ECBFA03AE}" destId="{AFD7CEDA-180E-4E48-8CA0-2A866C28D51E}" srcOrd="0" destOrd="0" presId="urn:microsoft.com/office/officeart/2005/8/layout/hProcess9"/>
    <dgm:cxn modelId="{B6C36F9D-0ACA-47CB-811B-C5D358681D7D}" type="presOf" srcId="{1AC3742A-DD03-446F-A3E2-F01507AB705A}" destId="{E7CB71EB-9EEC-49B4-9DE7-6794D7493C3B}" srcOrd="0" destOrd="0" presId="urn:microsoft.com/office/officeart/2005/8/layout/hProcess9"/>
    <dgm:cxn modelId="{C1E61CA0-AC20-445D-A288-01B8851C33F5}" srcId="{C2606258-277A-4A09-88D5-8BF7EBD77605}" destId="{F3DA80EC-5D6F-450B-91F2-B7B7A93F574D}" srcOrd="1" destOrd="0" parTransId="{894CBE60-07AA-4318-907D-E1448B481B1F}" sibTransId="{FAA430F9-6035-4843-8A8E-1D0DAA68CB54}"/>
    <dgm:cxn modelId="{3C7248A4-6318-48D9-956F-C862E11A16B0}" type="presOf" srcId="{F3DA80EC-5D6F-450B-91F2-B7B7A93F574D}" destId="{25C88A7F-3AAC-4B1E-8CC6-1092DF3C7CBC}" srcOrd="0" destOrd="0" presId="urn:microsoft.com/office/officeart/2005/8/layout/hProcess9"/>
    <dgm:cxn modelId="{ADE9E1B4-28B3-487A-97F3-C3FFDDEC4803}" type="presOf" srcId="{F7055F13-7B68-4F11-94B9-73DAB57501AD}" destId="{A8E0BA27-CB08-41E7-AD3A-E9C1DB6BBC87}" srcOrd="0" destOrd="0" presId="urn:microsoft.com/office/officeart/2005/8/layout/hProcess9"/>
    <dgm:cxn modelId="{5CB8B6B7-6612-4A9A-8ABD-A586234CB8AA}" srcId="{C2606258-277A-4A09-88D5-8BF7EBD77605}" destId="{F7055F13-7B68-4F11-94B9-73DAB57501AD}" srcOrd="0" destOrd="0" parTransId="{8B009E7F-92E9-4784-9675-E7B1A4B064CE}" sibTransId="{56CE6A5C-8AC2-48D0-AAB0-934DE63969AF}"/>
    <dgm:cxn modelId="{07C363CC-78AA-41DB-BE49-938B92401AAD}" srcId="{C2606258-277A-4A09-88D5-8BF7EBD77605}" destId="{54920D33-BBA4-4495-8783-05A34B6821AD}" srcOrd="6" destOrd="0" parTransId="{12017B80-67DB-4E91-88F3-EE3B70B45316}" sibTransId="{10BE1DD0-E36C-49BE-BE40-9390958D73AD}"/>
    <dgm:cxn modelId="{EE5630CF-CE34-486B-9E52-C5601FDAE0A9}" type="presOf" srcId="{C2606258-277A-4A09-88D5-8BF7EBD77605}" destId="{0CA3F7A8-F1F4-4FB7-9A5B-4C8BCCD227C9}" srcOrd="0" destOrd="0" presId="urn:microsoft.com/office/officeart/2005/8/layout/hProcess9"/>
    <dgm:cxn modelId="{682F47D5-AB8E-480B-A355-5EA75F62C56F}" srcId="{C2606258-277A-4A09-88D5-8BF7EBD77605}" destId="{71F6DCF5-6822-42F3-BE88-917ECBFA03AE}" srcOrd="3" destOrd="0" parTransId="{E2DE5A51-E4F0-467C-ADE3-E196A837F171}" sibTransId="{A7A12E72-D152-4622-91FD-95D1165A765C}"/>
    <dgm:cxn modelId="{14B26DE8-9A95-4B3E-BA29-3062CF99890C}" srcId="{C2606258-277A-4A09-88D5-8BF7EBD77605}" destId="{3C4DC973-2C8F-440D-877E-6B4722DAAADC}" srcOrd="5" destOrd="0" parTransId="{E5DA4216-A5A4-49BF-9377-8825F9CF10C5}" sibTransId="{21F40EB7-3AAC-42D2-A608-B190045EE591}"/>
    <dgm:cxn modelId="{A1E0CBEF-2F17-4FC5-8CA7-05A37AD1933D}" type="presOf" srcId="{54920D33-BBA4-4495-8783-05A34B6821AD}" destId="{FE46FF4B-74A7-4C0D-80A0-6A3A89611415}" srcOrd="0" destOrd="0" presId="urn:microsoft.com/office/officeart/2005/8/layout/hProcess9"/>
    <dgm:cxn modelId="{0106FDDB-D7B5-498D-AF83-62D4C372A2A5}" type="presParOf" srcId="{0CA3F7A8-F1F4-4FB7-9A5B-4C8BCCD227C9}" destId="{8CE72848-2EC0-4BE9-B2A6-6CB25049ECD9}" srcOrd="0" destOrd="0" presId="urn:microsoft.com/office/officeart/2005/8/layout/hProcess9"/>
    <dgm:cxn modelId="{9126E483-6DEE-4311-8269-10C36EF76C19}" type="presParOf" srcId="{0CA3F7A8-F1F4-4FB7-9A5B-4C8BCCD227C9}" destId="{58CA6899-0DE5-4AAE-8FC5-364E95ADEBDC}" srcOrd="1" destOrd="0" presId="urn:microsoft.com/office/officeart/2005/8/layout/hProcess9"/>
    <dgm:cxn modelId="{FDB09CE0-9EA7-40D3-AF66-4B1D46338D33}" type="presParOf" srcId="{58CA6899-0DE5-4AAE-8FC5-364E95ADEBDC}" destId="{A8E0BA27-CB08-41E7-AD3A-E9C1DB6BBC87}" srcOrd="0" destOrd="0" presId="urn:microsoft.com/office/officeart/2005/8/layout/hProcess9"/>
    <dgm:cxn modelId="{E554BBEB-792D-4536-BB53-88BE39B58C19}" type="presParOf" srcId="{58CA6899-0DE5-4AAE-8FC5-364E95ADEBDC}" destId="{975A2E8A-AD07-407E-9C4F-72683798E5CE}" srcOrd="1" destOrd="0" presId="urn:microsoft.com/office/officeart/2005/8/layout/hProcess9"/>
    <dgm:cxn modelId="{C5690BCA-C2D2-4192-BB8D-7C3F684155F2}" type="presParOf" srcId="{58CA6899-0DE5-4AAE-8FC5-364E95ADEBDC}" destId="{25C88A7F-3AAC-4B1E-8CC6-1092DF3C7CBC}" srcOrd="2" destOrd="0" presId="urn:microsoft.com/office/officeart/2005/8/layout/hProcess9"/>
    <dgm:cxn modelId="{F9209F78-A6BC-47D6-9AA5-006D1F9DA972}" type="presParOf" srcId="{58CA6899-0DE5-4AAE-8FC5-364E95ADEBDC}" destId="{F8F0BFA1-C4DD-45FB-AE60-066E3C7BBF9D}" srcOrd="3" destOrd="0" presId="urn:microsoft.com/office/officeart/2005/8/layout/hProcess9"/>
    <dgm:cxn modelId="{F2CDF0CB-7372-4AC2-89D6-C8D463E2676F}" type="presParOf" srcId="{58CA6899-0DE5-4AAE-8FC5-364E95ADEBDC}" destId="{E7CB71EB-9EEC-49B4-9DE7-6794D7493C3B}" srcOrd="4" destOrd="0" presId="urn:microsoft.com/office/officeart/2005/8/layout/hProcess9"/>
    <dgm:cxn modelId="{048A02AB-B4D0-43B8-B216-7B3CAD88F290}" type="presParOf" srcId="{58CA6899-0DE5-4AAE-8FC5-364E95ADEBDC}" destId="{5B66B44F-2050-455D-AEBB-2ECC6074E9FF}" srcOrd="5" destOrd="0" presId="urn:microsoft.com/office/officeart/2005/8/layout/hProcess9"/>
    <dgm:cxn modelId="{611113A7-AC90-436A-B266-EDAD235B84C0}" type="presParOf" srcId="{58CA6899-0DE5-4AAE-8FC5-364E95ADEBDC}" destId="{AFD7CEDA-180E-4E48-8CA0-2A866C28D51E}" srcOrd="6" destOrd="0" presId="urn:microsoft.com/office/officeart/2005/8/layout/hProcess9"/>
    <dgm:cxn modelId="{A0F79B9A-1B41-4D53-8BE3-2E97666F10AF}" type="presParOf" srcId="{58CA6899-0DE5-4AAE-8FC5-364E95ADEBDC}" destId="{E232459D-B6A2-49DA-B7C0-CE5FF5494922}" srcOrd="7" destOrd="0" presId="urn:microsoft.com/office/officeart/2005/8/layout/hProcess9"/>
    <dgm:cxn modelId="{69E70860-7645-43BC-BE9C-3DFBE9DBEAFD}" type="presParOf" srcId="{58CA6899-0DE5-4AAE-8FC5-364E95ADEBDC}" destId="{A1FA22B6-FB26-4389-9B8F-082EB12D749D}" srcOrd="8" destOrd="0" presId="urn:microsoft.com/office/officeart/2005/8/layout/hProcess9"/>
    <dgm:cxn modelId="{DEF4F17A-F894-49C3-8B22-336F045E85A4}" type="presParOf" srcId="{58CA6899-0DE5-4AAE-8FC5-364E95ADEBDC}" destId="{DB12EA00-A453-47D9-900B-5F5154DB54FD}" srcOrd="9" destOrd="0" presId="urn:microsoft.com/office/officeart/2005/8/layout/hProcess9"/>
    <dgm:cxn modelId="{BB0682C8-8EC1-4F06-8E25-74203C060BA6}" type="presParOf" srcId="{58CA6899-0DE5-4AAE-8FC5-364E95ADEBDC}" destId="{DEB6E6F7-3FB1-42D6-8526-1AF8567B487F}" srcOrd="10" destOrd="0" presId="urn:microsoft.com/office/officeart/2005/8/layout/hProcess9"/>
    <dgm:cxn modelId="{CE6D061A-D1BF-4742-AEEF-6C921F554EFA}" type="presParOf" srcId="{58CA6899-0DE5-4AAE-8FC5-364E95ADEBDC}" destId="{DC28D250-A6D3-4EFB-8EF7-833B505695DC}" srcOrd="11" destOrd="0" presId="urn:microsoft.com/office/officeart/2005/8/layout/hProcess9"/>
    <dgm:cxn modelId="{EE2B9965-C583-47A3-988E-3535B4B29FD8}" type="presParOf" srcId="{58CA6899-0DE5-4AAE-8FC5-364E95ADEBDC}" destId="{FE46FF4B-74A7-4C0D-80A0-6A3A89611415}" srcOrd="1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2606258-277A-4A09-88D5-8BF7EBD77605}" type="doc">
      <dgm:prSet loTypeId="urn:microsoft.com/office/officeart/2005/8/layout/hProcess9" loCatId="process" qsTypeId="urn:microsoft.com/office/officeart/2005/8/quickstyle/simple1" qsCatId="simple" csTypeId="urn:microsoft.com/office/officeart/2005/8/colors/accent5_1" csCatId="accent5" phldr="1"/>
      <dgm:spPr/>
    </dgm:pt>
    <dgm:pt modelId="{1AC3742A-DD03-446F-A3E2-F01507AB705A}">
      <dgm:prSet phldrT="[Text]" custT="1"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r>
            <a:rPr lang="de-DE" sz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3-4 Tage</a:t>
          </a:r>
        </a:p>
      </dgm:t>
    </dgm:pt>
    <dgm:pt modelId="{DD473BD9-BFB8-409A-A436-9AE6426A4D2A}" type="parTrans" cxnId="{8ABB2990-8A05-459D-9750-C2F7A30DC947}">
      <dgm:prSet/>
      <dgm:spPr/>
      <dgm:t>
        <a:bodyPr/>
        <a:lstStyle/>
        <a:p>
          <a:endParaRPr lang="de-DE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770F20B-237A-433B-8A71-D02A8BDD6CA8}" type="sibTrans" cxnId="{8ABB2990-8A05-459D-9750-C2F7A30DC947}">
      <dgm:prSet/>
      <dgm:spPr/>
      <dgm:t>
        <a:bodyPr/>
        <a:lstStyle/>
        <a:p>
          <a:endParaRPr lang="de-DE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37CA5D9-C68D-4982-820D-3956992D2D30}">
      <dgm:prSet phldrT="[Text]" custT="1"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r>
            <a:rPr lang="de-DE" sz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15 Tage</a:t>
          </a:r>
        </a:p>
      </dgm:t>
    </dgm:pt>
    <dgm:pt modelId="{E2C2407B-269D-415C-893C-D4D9FE6EF9BD}" type="parTrans" cxnId="{13D63732-9E2B-40B8-92F4-F51859FCA2E0}">
      <dgm:prSet/>
      <dgm:spPr/>
      <dgm:t>
        <a:bodyPr/>
        <a:lstStyle/>
        <a:p>
          <a:endParaRPr lang="de-DE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7BC5239-F5E0-4047-B679-ADBDD3BD848A}" type="sibTrans" cxnId="{13D63732-9E2B-40B8-92F4-F51859FCA2E0}">
      <dgm:prSet/>
      <dgm:spPr/>
      <dgm:t>
        <a:bodyPr/>
        <a:lstStyle/>
        <a:p>
          <a:endParaRPr lang="de-DE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C4DC973-2C8F-440D-877E-6B4722DAAADC}">
      <dgm:prSet custT="1"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r>
            <a:rPr lang="de-DE" sz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ndividuell</a:t>
          </a:r>
          <a:endParaRPr lang="de-DE" sz="1900" dirty="0">
            <a:solidFill>
              <a:schemeClr val="tx1">
                <a:lumMod val="50000"/>
                <a:lumOff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5DA4216-A5A4-49BF-9377-8825F9CF10C5}" type="parTrans" cxnId="{14B26DE8-9A95-4B3E-BA29-3062CF99890C}">
      <dgm:prSet/>
      <dgm:spPr/>
      <dgm:t>
        <a:bodyPr/>
        <a:lstStyle/>
        <a:p>
          <a:endParaRPr lang="de-DE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1F40EB7-3AAC-42D2-A608-B190045EE591}" type="sibTrans" cxnId="{14B26DE8-9A95-4B3E-BA29-3062CF99890C}">
      <dgm:prSet/>
      <dgm:spPr/>
      <dgm:t>
        <a:bodyPr/>
        <a:lstStyle/>
        <a:p>
          <a:endParaRPr lang="de-DE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7055F13-7B68-4F11-94B9-73DAB57501AD}">
      <dgm:prSet custT="1"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r>
            <a:rPr lang="de-DE" sz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ndividuell</a:t>
          </a:r>
          <a:endParaRPr lang="de-DE" sz="1300" dirty="0">
            <a:solidFill>
              <a:schemeClr val="tx1">
                <a:lumMod val="50000"/>
                <a:lumOff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B009E7F-92E9-4784-9675-E7B1A4B064CE}" type="parTrans" cxnId="{5CB8B6B7-6612-4A9A-8ABD-A586234CB8AA}">
      <dgm:prSet/>
      <dgm:spPr/>
      <dgm:t>
        <a:bodyPr/>
        <a:lstStyle/>
        <a:p>
          <a:endParaRPr lang="de-DE"/>
        </a:p>
      </dgm:t>
    </dgm:pt>
    <dgm:pt modelId="{56CE6A5C-8AC2-48D0-AAB0-934DE63969AF}" type="sibTrans" cxnId="{5CB8B6B7-6612-4A9A-8ABD-A586234CB8AA}">
      <dgm:prSet/>
      <dgm:spPr/>
      <dgm:t>
        <a:bodyPr/>
        <a:lstStyle/>
        <a:p>
          <a:endParaRPr lang="de-DE"/>
        </a:p>
      </dgm:t>
    </dgm:pt>
    <dgm:pt modelId="{F3DA80EC-5D6F-450B-91F2-B7B7A93F574D}">
      <dgm:prSet custT="1"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r>
            <a:rPr lang="de-DE" sz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2-3 Stunden</a:t>
          </a:r>
        </a:p>
        <a:p>
          <a:r>
            <a:rPr lang="de-DE" sz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eilweise mehrteilig</a:t>
          </a:r>
        </a:p>
      </dgm:t>
    </dgm:pt>
    <dgm:pt modelId="{894CBE60-07AA-4318-907D-E1448B481B1F}" type="parTrans" cxnId="{C1E61CA0-AC20-445D-A288-01B8851C33F5}">
      <dgm:prSet/>
      <dgm:spPr/>
      <dgm:t>
        <a:bodyPr/>
        <a:lstStyle/>
        <a:p>
          <a:endParaRPr lang="de-DE"/>
        </a:p>
      </dgm:t>
    </dgm:pt>
    <dgm:pt modelId="{FAA430F9-6035-4843-8A8E-1D0DAA68CB54}" type="sibTrans" cxnId="{C1E61CA0-AC20-445D-A288-01B8851C33F5}">
      <dgm:prSet/>
      <dgm:spPr/>
      <dgm:t>
        <a:bodyPr/>
        <a:lstStyle/>
        <a:p>
          <a:endParaRPr lang="de-DE"/>
        </a:p>
      </dgm:t>
    </dgm:pt>
    <dgm:pt modelId="{71F6DCF5-6822-42F3-BE88-917ECBFA03AE}">
      <dgm:prSet custT="1"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r>
            <a:rPr lang="de-DE" sz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10-14 Tage</a:t>
          </a:r>
        </a:p>
      </dgm:t>
    </dgm:pt>
    <dgm:pt modelId="{E2DE5A51-E4F0-467C-ADE3-E196A837F171}" type="parTrans" cxnId="{682F47D5-AB8E-480B-A355-5EA75F62C56F}">
      <dgm:prSet/>
      <dgm:spPr/>
      <dgm:t>
        <a:bodyPr/>
        <a:lstStyle/>
        <a:p>
          <a:endParaRPr lang="de-DE"/>
        </a:p>
      </dgm:t>
    </dgm:pt>
    <dgm:pt modelId="{A7A12E72-D152-4622-91FD-95D1165A765C}" type="sibTrans" cxnId="{682F47D5-AB8E-480B-A355-5EA75F62C56F}">
      <dgm:prSet/>
      <dgm:spPr/>
      <dgm:t>
        <a:bodyPr/>
        <a:lstStyle/>
        <a:p>
          <a:endParaRPr lang="de-DE"/>
        </a:p>
      </dgm:t>
    </dgm:pt>
    <dgm:pt modelId="{54920D33-BBA4-4495-8783-05A34B6821AD}">
      <dgm:prSet custT="1"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r>
            <a:rPr lang="de-DE" sz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3-6 Wochen</a:t>
          </a:r>
        </a:p>
      </dgm:t>
    </dgm:pt>
    <dgm:pt modelId="{12017B80-67DB-4E91-88F3-EE3B70B45316}" type="parTrans" cxnId="{07C363CC-78AA-41DB-BE49-938B92401AAD}">
      <dgm:prSet/>
      <dgm:spPr/>
      <dgm:t>
        <a:bodyPr/>
        <a:lstStyle/>
        <a:p>
          <a:endParaRPr lang="de-DE"/>
        </a:p>
      </dgm:t>
    </dgm:pt>
    <dgm:pt modelId="{10BE1DD0-E36C-49BE-BE40-9390958D73AD}" type="sibTrans" cxnId="{07C363CC-78AA-41DB-BE49-938B92401AAD}">
      <dgm:prSet/>
      <dgm:spPr/>
      <dgm:t>
        <a:bodyPr/>
        <a:lstStyle/>
        <a:p>
          <a:endParaRPr lang="de-DE"/>
        </a:p>
      </dgm:t>
    </dgm:pt>
    <dgm:pt modelId="{0CA3F7A8-F1F4-4FB7-9A5B-4C8BCCD227C9}" type="pres">
      <dgm:prSet presAssocID="{C2606258-277A-4A09-88D5-8BF7EBD77605}" presName="CompostProcess" presStyleCnt="0">
        <dgm:presLayoutVars>
          <dgm:dir/>
          <dgm:resizeHandles val="exact"/>
        </dgm:presLayoutVars>
      </dgm:prSet>
      <dgm:spPr/>
    </dgm:pt>
    <dgm:pt modelId="{8CE72848-2EC0-4BE9-B2A6-6CB25049ECD9}" type="pres">
      <dgm:prSet presAssocID="{C2606258-277A-4A09-88D5-8BF7EBD77605}" presName="arrow" presStyleLbl="bgShp" presStyleIdx="0" presStyleCnt="1" custScaleX="117647" custLinFactNeighborX="-886"/>
      <dgm:spPr>
        <a:solidFill>
          <a:schemeClr val="bg1">
            <a:lumMod val="95000"/>
          </a:schemeClr>
        </a:solidFill>
      </dgm:spPr>
    </dgm:pt>
    <dgm:pt modelId="{58CA6899-0DE5-4AAE-8FC5-364E95ADEBDC}" type="pres">
      <dgm:prSet presAssocID="{C2606258-277A-4A09-88D5-8BF7EBD77605}" presName="linearProcess" presStyleCnt="0"/>
      <dgm:spPr/>
    </dgm:pt>
    <dgm:pt modelId="{A8E0BA27-CB08-41E7-AD3A-E9C1DB6BBC87}" type="pres">
      <dgm:prSet presAssocID="{F7055F13-7B68-4F11-94B9-73DAB57501AD}" presName="textNode" presStyleLbl="node1" presStyleIdx="0" presStyleCnt="7" custScaleX="117998" custLinFactNeighborX="-94536">
        <dgm:presLayoutVars>
          <dgm:bulletEnabled val="1"/>
        </dgm:presLayoutVars>
      </dgm:prSet>
      <dgm:spPr/>
    </dgm:pt>
    <dgm:pt modelId="{975A2E8A-AD07-407E-9C4F-72683798E5CE}" type="pres">
      <dgm:prSet presAssocID="{56CE6A5C-8AC2-48D0-AAB0-934DE63969AF}" presName="sibTrans" presStyleCnt="0"/>
      <dgm:spPr/>
    </dgm:pt>
    <dgm:pt modelId="{25C88A7F-3AAC-4B1E-8CC6-1092DF3C7CBC}" type="pres">
      <dgm:prSet presAssocID="{F3DA80EC-5D6F-450B-91F2-B7B7A93F574D}" presName="textNode" presStyleLbl="node1" presStyleIdx="1" presStyleCnt="7" custScaleX="94587" custLinFactNeighborX="-87536" custLinFactNeighborY="0">
        <dgm:presLayoutVars>
          <dgm:bulletEnabled val="1"/>
        </dgm:presLayoutVars>
      </dgm:prSet>
      <dgm:spPr/>
    </dgm:pt>
    <dgm:pt modelId="{F8F0BFA1-C4DD-45FB-AE60-066E3C7BBF9D}" type="pres">
      <dgm:prSet presAssocID="{FAA430F9-6035-4843-8A8E-1D0DAA68CB54}" presName="sibTrans" presStyleCnt="0"/>
      <dgm:spPr/>
    </dgm:pt>
    <dgm:pt modelId="{E7CB71EB-9EEC-49B4-9DE7-6794D7493C3B}" type="pres">
      <dgm:prSet presAssocID="{1AC3742A-DD03-446F-A3E2-F01507AB705A}" presName="textNode" presStyleLbl="node1" presStyleIdx="2" presStyleCnt="7" custScaleX="94884" custLinFactNeighborX="-79862" custLinFactNeighborY="0">
        <dgm:presLayoutVars>
          <dgm:bulletEnabled val="1"/>
        </dgm:presLayoutVars>
      </dgm:prSet>
      <dgm:spPr/>
    </dgm:pt>
    <dgm:pt modelId="{5B66B44F-2050-455D-AEBB-2ECC6074E9FF}" type="pres">
      <dgm:prSet presAssocID="{0770F20B-237A-433B-8A71-D02A8BDD6CA8}" presName="sibTrans" presStyleCnt="0"/>
      <dgm:spPr/>
    </dgm:pt>
    <dgm:pt modelId="{AFD7CEDA-180E-4E48-8CA0-2A866C28D51E}" type="pres">
      <dgm:prSet presAssocID="{71F6DCF5-6822-42F3-BE88-917ECBFA03AE}" presName="textNode" presStyleLbl="node1" presStyleIdx="3" presStyleCnt="7" custScaleX="118031" custLinFactNeighborX="-98402" custLinFactNeighborY="0">
        <dgm:presLayoutVars>
          <dgm:bulletEnabled val="1"/>
        </dgm:presLayoutVars>
      </dgm:prSet>
      <dgm:spPr/>
    </dgm:pt>
    <dgm:pt modelId="{E232459D-B6A2-49DA-B7C0-CE5FF5494922}" type="pres">
      <dgm:prSet presAssocID="{A7A12E72-D152-4622-91FD-95D1165A765C}" presName="sibTrans" presStyleCnt="0"/>
      <dgm:spPr/>
    </dgm:pt>
    <dgm:pt modelId="{A1FA22B6-FB26-4389-9B8F-082EB12D749D}" type="pres">
      <dgm:prSet presAssocID="{337CA5D9-C68D-4982-820D-3956992D2D30}" presName="textNode" presStyleLbl="node1" presStyleIdx="4" presStyleCnt="7" custScaleX="94162" custLinFactX="-1339" custLinFactNeighborX="-100000" custLinFactNeighborY="0">
        <dgm:presLayoutVars>
          <dgm:bulletEnabled val="1"/>
        </dgm:presLayoutVars>
      </dgm:prSet>
      <dgm:spPr/>
    </dgm:pt>
    <dgm:pt modelId="{DB12EA00-A453-47D9-900B-5F5154DB54FD}" type="pres">
      <dgm:prSet presAssocID="{47BC5239-F5E0-4047-B679-ADBDD3BD848A}" presName="sibTrans" presStyleCnt="0"/>
      <dgm:spPr/>
    </dgm:pt>
    <dgm:pt modelId="{DEB6E6F7-3FB1-42D6-8526-1AF8567B487F}" type="pres">
      <dgm:prSet presAssocID="{3C4DC973-2C8F-440D-877E-6B4722DAAADC}" presName="textNode" presStyleLbl="node1" presStyleIdx="5" presStyleCnt="7" custScaleX="90460" custLinFactNeighborX="-82099" custLinFactNeighborY="0">
        <dgm:presLayoutVars>
          <dgm:bulletEnabled val="1"/>
        </dgm:presLayoutVars>
      </dgm:prSet>
      <dgm:spPr/>
    </dgm:pt>
    <dgm:pt modelId="{DC28D250-A6D3-4EFB-8EF7-833B505695DC}" type="pres">
      <dgm:prSet presAssocID="{21F40EB7-3AAC-42D2-A608-B190045EE591}" presName="sibTrans" presStyleCnt="0"/>
      <dgm:spPr/>
    </dgm:pt>
    <dgm:pt modelId="{FE46FF4B-74A7-4C0D-80A0-6A3A89611415}" type="pres">
      <dgm:prSet presAssocID="{54920D33-BBA4-4495-8783-05A34B6821AD}" presName="textNode" presStyleLbl="node1" presStyleIdx="6" presStyleCnt="7" custScaleX="91957" custLinFactNeighborX="-57566" custLinFactNeighborY="0">
        <dgm:presLayoutVars>
          <dgm:bulletEnabled val="1"/>
        </dgm:presLayoutVars>
      </dgm:prSet>
      <dgm:spPr/>
    </dgm:pt>
  </dgm:ptLst>
  <dgm:cxnLst>
    <dgm:cxn modelId="{0E279F0C-D775-4021-A66D-C63E46C0E115}" type="presOf" srcId="{337CA5D9-C68D-4982-820D-3956992D2D30}" destId="{A1FA22B6-FB26-4389-9B8F-082EB12D749D}" srcOrd="0" destOrd="0" presId="urn:microsoft.com/office/officeart/2005/8/layout/hProcess9"/>
    <dgm:cxn modelId="{13D63732-9E2B-40B8-92F4-F51859FCA2E0}" srcId="{C2606258-277A-4A09-88D5-8BF7EBD77605}" destId="{337CA5D9-C68D-4982-820D-3956992D2D30}" srcOrd="4" destOrd="0" parTransId="{E2C2407B-269D-415C-893C-D4D9FE6EF9BD}" sibTransId="{47BC5239-F5E0-4047-B679-ADBDD3BD848A}"/>
    <dgm:cxn modelId="{4E948787-48F0-48B4-B809-3E48234AACE2}" type="presOf" srcId="{3C4DC973-2C8F-440D-877E-6B4722DAAADC}" destId="{DEB6E6F7-3FB1-42D6-8526-1AF8567B487F}" srcOrd="0" destOrd="0" presId="urn:microsoft.com/office/officeart/2005/8/layout/hProcess9"/>
    <dgm:cxn modelId="{8ABB2990-8A05-459D-9750-C2F7A30DC947}" srcId="{C2606258-277A-4A09-88D5-8BF7EBD77605}" destId="{1AC3742A-DD03-446F-A3E2-F01507AB705A}" srcOrd="2" destOrd="0" parTransId="{DD473BD9-BFB8-409A-A436-9AE6426A4D2A}" sibTransId="{0770F20B-237A-433B-8A71-D02A8BDD6CA8}"/>
    <dgm:cxn modelId="{F6C21491-2EC7-4B79-8B2F-BCC693EE5D2D}" type="presOf" srcId="{71F6DCF5-6822-42F3-BE88-917ECBFA03AE}" destId="{AFD7CEDA-180E-4E48-8CA0-2A866C28D51E}" srcOrd="0" destOrd="0" presId="urn:microsoft.com/office/officeart/2005/8/layout/hProcess9"/>
    <dgm:cxn modelId="{B6C36F9D-0ACA-47CB-811B-C5D358681D7D}" type="presOf" srcId="{1AC3742A-DD03-446F-A3E2-F01507AB705A}" destId="{E7CB71EB-9EEC-49B4-9DE7-6794D7493C3B}" srcOrd="0" destOrd="0" presId="urn:microsoft.com/office/officeart/2005/8/layout/hProcess9"/>
    <dgm:cxn modelId="{C1E61CA0-AC20-445D-A288-01B8851C33F5}" srcId="{C2606258-277A-4A09-88D5-8BF7EBD77605}" destId="{F3DA80EC-5D6F-450B-91F2-B7B7A93F574D}" srcOrd="1" destOrd="0" parTransId="{894CBE60-07AA-4318-907D-E1448B481B1F}" sibTransId="{FAA430F9-6035-4843-8A8E-1D0DAA68CB54}"/>
    <dgm:cxn modelId="{3C7248A4-6318-48D9-956F-C862E11A16B0}" type="presOf" srcId="{F3DA80EC-5D6F-450B-91F2-B7B7A93F574D}" destId="{25C88A7F-3AAC-4B1E-8CC6-1092DF3C7CBC}" srcOrd="0" destOrd="0" presId="urn:microsoft.com/office/officeart/2005/8/layout/hProcess9"/>
    <dgm:cxn modelId="{ADE9E1B4-28B3-487A-97F3-C3FFDDEC4803}" type="presOf" srcId="{F7055F13-7B68-4F11-94B9-73DAB57501AD}" destId="{A8E0BA27-CB08-41E7-AD3A-E9C1DB6BBC87}" srcOrd="0" destOrd="0" presId="urn:microsoft.com/office/officeart/2005/8/layout/hProcess9"/>
    <dgm:cxn modelId="{5CB8B6B7-6612-4A9A-8ABD-A586234CB8AA}" srcId="{C2606258-277A-4A09-88D5-8BF7EBD77605}" destId="{F7055F13-7B68-4F11-94B9-73DAB57501AD}" srcOrd="0" destOrd="0" parTransId="{8B009E7F-92E9-4784-9675-E7B1A4B064CE}" sibTransId="{56CE6A5C-8AC2-48D0-AAB0-934DE63969AF}"/>
    <dgm:cxn modelId="{07C363CC-78AA-41DB-BE49-938B92401AAD}" srcId="{C2606258-277A-4A09-88D5-8BF7EBD77605}" destId="{54920D33-BBA4-4495-8783-05A34B6821AD}" srcOrd="6" destOrd="0" parTransId="{12017B80-67DB-4E91-88F3-EE3B70B45316}" sibTransId="{10BE1DD0-E36C-49BE-BE40-9390958D73AD}"/>
    <dgm:cxn modelId="{EE5630CF-CE34-486B-9E52-C5601FDAE0A9}" type="presOf" srcId="{C2606258-277A-4A09-88D5-8BF7EBD77605}" destId="{0CA3F7A8-F1F4-4FB7-9A5B-4C8BCCD227C9}" srcOrd="0" destOrd="0" presId="urn:microsoft.com/office/officeart/2005/8/layout/hProcess9"/>
    <dgm:cxn modelId="{682F47D5-AB8E-480B-A355-5EA75F62C56F}" srcId="{C2606258-277A-4A09-88D5-8BF7EBD77605}" destId="{71F6DCF5-6822-42F3-BE88-917ECBFA03AE}" srcOrd="3" destOrd="0" parTransId="{E2DE5A51-E4F0-467C-ADE3-E196A837F171}" sibTransId="{A7A12E72-D152-4622-91FD-95D1165A765C}"/>
    <dgm:cxn modelId="{14B26DE8-9A95-4B3E-BA29-3062CF99890C}" srcId="{C2606258-277A-4A09-88D5-8BF7EBD77605}" destId="{3C4DC973-2C8F-440D-877E-6B4722DAAADC}" srcOrd="5" destOrd="0" parTransId="{E5DA4216-A5A4-49BF-9377-8825F9CF10C5}" sibTransId="{21F40EB7-3AAC-42D2-A608-B190045EE591}"/>
    <dgm:cxn modelId="{A1E0CBEF-2F17-4FC5-8CA7-05A37AD1933D}" type="presOf" srcId="{54920D33-BBA4-4495-8783-05A34B6821AD}" destId="{FE46FF4B-74A7-4C0D-80A0-6A3A89611415}" srcOrd="0" destOrd="0" presId="urn:microsoft.com/office/officeart/2005/8/layout/hProcess9"/>
    <dgm:cxn modelId="{0106FDDB-D7B5-498D-AF83-62D4C372A2A5}" type="presParOf" srcId="{0CA3F7A8-F1F4-4FB7-9A5B-4C8BCCD227C9}" destId="{8CE72848-2EC0-4BE9-B2A6-6CB25049ECD9}" srcOrd="0" destOrd="0" presId="urn:microsoft.com/office/officeart/2005/8/layout/hProcess9"/>
    <dgm:cxn modelId="{9126E483-6DEE-4311-8269-10C36EF76C19}" type="presParOf" srcId="{0CA3F7A8-F1F4-4FB7-9A5B-4C8BCCD227C9}" destId="{58CA6899-0DE5-4AAE-8FC5-364E95ADEBDC}" srcOrd="1" destOrd="0" presId="urn:microsoft.com/office/officeart/2005/8/layout/hProcess9"/>
    <dgm:cxn modelId="{FDB09CE0-9EA7-40D3-AF66-4B1D46338D33}" type="presParOf" srcId="{58CA6899-0DE5-4AAE-8FC5-364E95ADEBDC}" destId="{A8E0BA27-CB08-41E7-AD3A-E9C1DB6BBC87}" srcOrd="0" destOrd="0" presId="urn:microsoft.com/office/officeart/2005/8/layout/hProcess9"/>
    <dgm:cxn modelId="{E554BBEB-792D-4536-BB53-88BE39B58C19}" type="presParOf" srcId="{58CA6899-0DE5-4AAE-8FC5-364E95ADEBDC}" destId="{975A2E8A-AD07-407E-9C4F-72683798E5CE}" srcOrd="1" destOrd="0" presId="urn:microsoft.com/office/officeart/2005/8/layout/hProcess9"/>
    <dgm:cxn modelId="{C5690BCA-C2D2-4192-BB8D-7C3F684155F2}" type="presParOf" srcId="{58CA6899-0DE5-4AAE-8FC5-364E95ADEBDC}" destId="{25C88A7F-3AAC-4B1E-8CC6-1092DF3C7CBC}" srcOrd="2" destOrd="0" presId="urn:microsoft.com/office/officeart/2005/8/layout/hProcess9"/>
    <dgm:cxn modelId="{F9209F78-A6BC-47D6-9AA5-006D1F9DA972}" type="presParOf" srcId="{58CA6899-0DE5-4AAE-8FC5-364E95ADEBDC}" destId="{F8F0BFA1-C4DD-45FB-AE60-066E3C7BBF9D}" srcOrd="3" destOrd="0" presId="urn:microsoft.com/office/officeart/2005/8/layout/hProcess9"/>
    <dgm:cxn modelId="{F2CDF0CB-7372-4AC2-89D6-C8D463E2676F}" type="presParOf" srcId="{58CA6899-0DE5-4AAE-8FC5-364E95ADEBDC}" destId="{E7CB71EB-9EEC-49B4-9DE7-6794D7493C3B}" srcOrd="4" destOrd="0" presId="urn:microsoft.com/office/officeart/2005/8/layout/hProcess9"/>
    <dgm:cxn modelId="{048A02AB-B4D0-43B8-B216-7B3CAD88F290}" type="presParOf" srcId="{58CA6899-0DE5-4AAE-8FC5-364E95ADEBDC}" destId="{5B66B44F-2050-455D-AEBB-2ECC6074E9FF}" srcOrd="5" destOrd="0" presId="urn:microsoft.com/office/officeart/2005/8/layout/hProcess9"/>
    <dgm:cxn modelId="{611113A7-AC90-436A-B266-EDAD235B84C0}" type="presParOf" srcId="{58CA6899-0DE5-4AAE-8FC5-364E95ADEBDC}" destId="{AFD7CEDA-180E-4E48-8CA0-2A866C28D51E}" srcOrd="6" destOrd="0" presId="urn:microsoft.com/office/officeart/2005/8/layout/hProcess9"/>
    <dgm:cxn modelId="{A0F79B9A-1B41-4D53-8BE3-2E97666F10AF}" type="presParOf" srcId="{58CA6899-0DE5-4AAE-8FC5-364E95ADEBDC}" destId="{E232459D-B6A2-49DA-B7C0-CE5FF5494922}" srcOrd="7" destOrd="0" presId="urn:microsoft.com/office/officeart/2005/8/layout/hProcess9"/>
    <dgm:cxn modelId="{69E70860-7645-43BC-BE9C-3DFBE9DBEAFD}" type="presParOf" srcId="{58CA6899-0DE5-4AAE-8FC5-364E95ADEBDC}" destId="{A1FA22B6-FB26-4389-9B8F-082EB12D749D}" srcOrd="8" destOrd="0" presId="urn:microsoft.com/office/officeart/2005/8/layout/hProcess9"/>
    <dgm:cxn modelId="{DEF4F17A-F894-49C3-8B22-336F045E85A4}" type="presParOf" srcId="{58CA6899-0DE5-4AAE-8FC5-364E95ADEBDC}" destId="{DB12EA00-A453-47D9-900B-5F5154DB54FD}" srcOrd="9" destOrd="0" presId="urn:microsoft.com/office/officeart/2005/8/layout/hProcess9"/>
    <dgm:cxn modelId="{BB0682C8-8EC1-4F06-8E25-74203C060BA6}" type="presParOf" srcId="{58CA6899-0DE5-4AAE-8FC5-364E95ADEBDC}" destId="{DEB6E6F7-3FB1-42D6-8526-1AF8567B487F}" srcOrd="10" destOrd="0" presId="urn:microsoft.com/office/officeart/2005/8/layout/hProcess9"/>
    <dgm:cxn modelId="{CE6D061A-D1BF-4742-AEEF-6C921F554EFA}" type="presParOf" srcId="{58CA6899-0DE5-4AAE-8FC5-364E95ADEBDC}" destId="{DC28D250-A6D3-4EFB-8EF7-833B505695DC}" srcOrd="11" destOrd="0" presId="urn:microsoft.com/office/officeart/2005/8/layout/hProcess9"/>
    <dgm:cxn modelId="{EE2B9965-C583-47A3-988E-3535B4B29FD8}" type="presParOf" srcId="{58CA6899-0DE5-4AAE-8FC5-364E95ADEBDC}" destId="{FE46FF4B-74A7-4C0D-80A0-6A3A89611415}" srcOrd="1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E72848-2EC0-4BE9-B2A6-6CB25049ECD9}">
      <dsp:nvSpPr>
        <dsp:cNvPr id="0" name=""/>
        <dsp:cNvSpPr/>
      </dsp:nvSpPr>
      <dsp:spPr>
        <a:xfrm>
          <a:off x="5" y="0"/>
          <a:ext cx="10165488" cy="2520777"/>
        </a:xfrm>
        <a:prstGeom prst="rightArrow">
          <a:avLst/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E0BA27-CB08-41E7-AD3A-E9C1DB6BBC87}">
      <dsp:nvSpPr>
        <dsp:cNvPr id="0" name=""/>
        <dsp:cNvSpPr/>
      </dsp:nvSpPr>
      <dsp:spPr>
        <a:xfrm>
          <a:off x="2091" y="756233"/>
          <a:ext cx="1527644" cy="1008310"/>
        </a:xfrm>
        <a:prstGeom prst="roundRect">
          <a:avLst/>
        </a:prstGeom>
        <a:solidFill>
          <a:srgbClr val="5656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Gesundheits-hunderter</a:t>
          </a:r>
          <a:endParaRPr lang="de-DE" sz="105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313" y="805455"/>
        <a:ext cx="1429200" cy="909866"/>
      </dsp:txXfrm>
    </dsp:sp>
    <dsp:sp modelId="{25C88A7F-3AAC-4B1E-8CC6-1092DF3C7CBC}">
      <dsp:nvSpPr>
        <dsp:cNvPr id="0" name=""/>
        <dsp:cNvSpPr/>
      </dsp:nvSpPr>
      <dsp:spPr>
        <a:xfrm>
          <a:off x="1728777" y="756233"/>
          <a:ext cx="1194247" cy="1008310"/>
        </a:xfrm>
        <a:prstGeom prst="roundRect">
          <a:avLst/>
        </a:prstGeom>
        <a:solidFill>
          <a:srgbClr val="5656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Webinare/ Vorträge</a:t>
          </a:r>
          <a:endParaRPr lang="de-DE" sz="10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777999" y="805455"/>
        <a:ext cx="1095803" cy="909866"/>
      </dsp:txXfrm>
    </dsp:sp>
    <dsp:sp modelId="{E7CB71EB-9EEC-49B4-9DE7-6794D7493C3B}">
      <dsp:nvSpPr>
        <dsp:cNvPr id="0" name=""/>
        <dsp:cNvSpPr/>
      </dsp:nvSpPr>
      <dsp:spPr>
        <a:xfrm>
          <a:off x="3122066" y="756233"/>
          <a:ext cx="1194247" cy="1008310"/>
        </a:xfrm>
        <a:prstGeom prst="roundRect">
          <a:avLst/>
        </a:prstGeom>
        <a:solidFill>
          <a:srgbClr val="5656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Camps</a:t>
          </a:r>
          <a:endParaRPr lang="de-DE" sz="10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171288" y="805455"/>
        <a:ext cx="1095803" cy="909866"/>
      </dsp:txXfrm>
    </dsp:sp>
    <dsp:sp modelId="{AFD7CEDA-180E-4E48-8CA0-2A866C28D51E}">
      <dsp:nvSpPr>
        <dsp:cNvPr id="0" name=""/>
        <dsp:cNvSpPr/>
      </dsp:nvSpPr>
      <dsp:spPr>
        <a:xfrm>
          <a:off x="4515354" y="756233"/>
          <a:ext cx="1468183" cy="1008310"/>
        </a:xfrm>
        <a:prstGeom prst="roundRect">
          <a:avLst/>
        </a:prstGeom>
        <a:solidFill>
          <a:srgbClr val="5CB77A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Gesundheits-wochen</a:t>
          </a:r>
          <a:endParaRPr lang="de-DE" sz="1000" kern="1200" dirty="0">
            <a:solidFill>
              <a:schemeClr val="bg1"/>
            </a:solidFill>
          </a:endParaRPr>
        </a:p>
      </dsp:txBody>
      <dsp:txXfrm>
        <a:off x="4564576" y="805455"/>
        <a:ext cx="1369739" cy="909866"/>
      </dsp:txXfrm>
    </dsp:sp>
    <dsp:sp modelId="{A1FA22B6-FB26-4389-9B8F-082EB12D749D}">
      <dsp:nvSpPr>
        <dsp:cNvPr id="0" name=""/>
        <dsp:cNvSpPr/>
      </dsp:nvSpPr>
      <dsp:spPr>
        <a:xfrm>
          <a:off x="6182578" y="756233"/>
          <a:ext cx="1194247" cy="1008310"/>
        </a:xfrm>
        <a:prstGeom prst="roundRect">
          <a:avLst/>
        </a:prstGeom>
        <a:solidFill>
          <a:srgbClr val="5656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Ferien-camps</a:t>
          </a:r>
          <a:endParaRPr lang="de-DE" sz="15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231800" y="805455"/>
        <a:ext cx="1095803" cy="909866"/>
      </dsp:txXfrm>
    </dsp:sp>
    <dsp:sp modelId="{DEB6E6F7-3FB1-42D6-8526-1AF8567B487F}">
      <dsp:nvSpPr>
        <dsp:cNvPr id="0" name=""/>
        <dsp:cNvSpPr/>
      </dsp:nvSpPr>
      <dsp:spPr>
        <a:xfrm>
          <a:off x="7575866" y="756233"/>
          <a:ext cx="1194247" cy="1008310"/>
        </a:xfrm>
        <a:prstGeom prst="roundRect">
          <a:avLst/>
        </a:prstGeom>
        <a:solidFill>
          <a:srgbClr val="5656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Aktivitäten im Setting</a:t>
          </a:r>
        </a:p>
      </dsp:txBody>
      <dsp:txXfrm>
        <a:off x="7625088" y="805455"/>
        <a:ext cx="1095803" cy="909866"/>
      </dsp:txXfrm>
    </dsp:sp>
    <dsp:sp modelId="{FE46FF4B-74A7-4C0D-80A0-6A3A89611415}">
      <dsp:nvSpPr>
        <dsp:cNvPr id="0" name=""/>
        <dsp:cNvSpPr/>
      </dsp:nvSpPr>
      <dsp:spPr>
        <a:xfrm>
          <a:off x="8969155" y="756233"/>
          <a:ext cx="1194247" cy="1008310"/>
        </a:xfrm>
        <a:prstGeom prst="roundRect">
          <a:avLst/>
        </a:prstGeom>
        <a:solidFill>
          <a:srgbClr val="5656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Kur/Reha</a:t>
          </a:r>
          <a:endParaRPr lang="de-DE" sz="21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018377" y="805455"/>
        <a:ext cx="1095803" cy="90986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E72848-2EC0-4BE9-B2A6-6CB25049ECD9}">
      <dsp:nvSpPr>
        <dsp:cNvPr id="0" name=""/>
        <dsp:cNvSpPr/>
      </dsp:nvSpPr>
      <dsp:spPr>
        <a:xfrm>
          <a:off x="0" y="0"/>
          <a:ext cx="10505583" cy="1781075"/>
        </a:xfrm>
        <a:prstGeom prst="rightArrow">
          <a:avLst/>
        </a:prstGeom>
        <a:solidFill>
          <a:schemeClr val="bg1">
            <a:lumMod val="9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E0BA27-CB08-41E7-AD3A-E9C1DB6BBC87}">
      <dsp:nvSpPr>
        <dsp:cNvPr id="0" name=""/>
        <dsp:cNvSpPr/>
      </dsp:nvSpPr>
      <dsp:spPr>
        <a:xfrm>
          <a:off x="18287" y="534322"/>
          <a:ext cx="1481929" cy="71243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ndividuell</a:t>
          </a:r>
          <a:endParaRPr lang="de-DE" sz="1300" kern="1200" dirty="0">
            <a:solidFill>
              <a:schemeClr val="tx1">
                <a:lumMod val="50000"/>
                <a:lumOff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3065" y="569100"/>
        <a:ext cx="1412373" cy="642874"/>
      </dsp:txXfrm>
    </dsp:sp>
    <dsp:sp modelId="{25C88A7F-3AAC-4B1E-8CC6-1092DF3C7CBC}">
      <dsp:nvSpPr>
        <dsp:cNvPr id="0" name=""/>
        <dsp:cNvSpPr/>
      </dsp:nvSpPr>
      <dsp:spPr>
        <a:xfrm>
          <a:off x="1724183" y="534322"/>
          <a:ext cx="1187911" cy="71243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2-3 Stunde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eilweise mehrteilig</a:t>
          </a:r>
        </a:p>
      </dsp:txBody>
      <dsp:txXfrm>
        <a:off x="1758961" y="569100"/>
        <a:ext cx="1118355" cy="642874"/>
      </dsp:txXfrm>
    </dsp:sp>
    <dsp:sp modelId="{E7CB71EB-9EEC-49B4-9DE7-6794D7493C3B}">
      <dsp:nvSpPr>
        <dsp:cNvPr id="0" name=""/>
        <dsp:cNvSpPr/>
      </dsp:nvSpPr>
      <dsp:spPr>
        <a:xfrm>
          <a:off x="3137474" y="534322"/>
          <a:ext cx="1191641" cy="71243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3-4 Tage</a:t>
          </a:r>
        </a:p>
      </dsp:txBody>
      <dsp:txXfrm>
        <a:off x="3172252" y="569100"/>
        <a:ext cx="1122085" cy="642874"/>
      </dsp:txXfrm>
    </dsp:sp>
    <dsp:sp modelId="{AFD7CEDA-180E-4E48-8CA0-2A866C28D51E}">
      <dsp:nvSpPr>
        <dsp:cNvPr id="0" name=""/>
        <dsp:cNvSpPr/>
      </dsp:nvSpPr>
      <dsp:spPr>
        <a:xfrm>
          <a:off x="4499624" y="534322"/>
          <a:ext cx="1482343" cy="71243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10-14 Tage</a:t>
          </a:r>
        </a:p>
      </dsp:txBody>
      <dsp:txXfrm>
        <a:off x="4534402" y="569100"/>
        <a:ext cx="1412787" cy="642874"/>
      </dsp:txXfrm>
    </dsp:sp>
    <dsp:sp modelId="{A1FA22B6-FB26-4389-9B8F-082EB12D749D}">
      <dsp:nvSpPr>
        <dsp:cNvPr id="0" name=""/>
        <dsp:cNvSpPr/>
      </dsp:nvSpPr>
      <dsp:spPr>
        <a:xfrm>
          <a:off x="6171122" y="534322"/>
          <a:ext cx="1182574" cy="71243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15 Tage</a:t>
          </a:r>
        </a:p>
      </dsp:txBody>
      <dsp:txXfrm>
        <a:off x="6205900" y="569100"/>
        <a:ext cx="1113018" cy="642874"/>
      </dsp:txXfrm>
    </dsp:sp>
    <dsp:sp modelId="{DEB6E6F7-3FB1-42D6-8526-1AF8567B487F}">
      <dsp:nvSpPr>
        <dsp:cNvPr id="0" name=""/>
        <dsp:cNvSpPr/>
      </dsp:nvSpPr>
      <dsp:spPr>
        <a:xfrm>
          <a:off x="7617298" y="534322"/>
          <a:ext cx="1136081" cy="71243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ndividuell</a:t>
          </a:r>
          <a:endParaRPr lang="de-DE" sz="1900" kern="1200" dirty="0">
            <a:solidFill>
              <a:schemeClr val="tx1">
                <a:lumMod val="50000"/>
                <a:lumOff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652076" y="569100"/>
        <a:ext cx="1066525" cy="642874"/>
      </dsp:txXfrm>
    </dsp:sp>
    <dsp:sp modelId="{FE46FF4B-74A7-4C0D-80A0-6A3A89611415}">
      <dsp:nvSpPr>
        <dsp:cNvPr id="0" name=""/>
        <dsp:cNvSpPr/>
      </dsp:nvSpPr>
      <dsp:spPr>
        <a:xfrm>
          <a:off x="9014046" y="534322"/>
          <a:ext cx="1154881" cy="71243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3-6 Wochen</a:t>
          </a:r>
        </a:p>
      </dsp:txBody>
      <dsp:txXfrm>
        <a:off x="9048824" y="569100"/>
        <a:ext cx="1085325" cy="64287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F8F550-48A0-4687-96B9-633E74FCF7E0}" type="datetimeFigureOut">
              <a:rPr lang="de-AT" smtClean="0"/>
              <a:t>25.02.2025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3A05C0-FDA4-4694-A0F9-B7B131B6DA84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7013247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1FB95-585F-4DA2-8194-4F939D7D7BC5}" type="slidenum">
              <a:rPr lang="de-AT" smtClean="0"/>
              <a:t>2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4976821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1FB95-585F-4DA2-8194-4F939D7D7BC5}" type="slidenum">
              <a:rPr lang="de-AT" smtClean="0"/>
              <a:t>3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2692217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1FB95-585F-4DA2-8194-4F939D7D7BC5}" type="slidenum">
              <a:rPr lang="de-AT" smtClean="0"/>
              <a:t>4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6278351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/>
              <a:t>Die Angebote der Gesundheitsförderung sind aufbauend strukturiert,</a:t>
            </a:r>
            <a:r>
              <a:rPr lang="de-DE" sz="1200" baseline="0" dirty="0"/>
              <a:t> </a:t>
            </a:r>
            <a:r>
              <a:rPr lang="de-DE" sz="1200" dirty="0"/>
              <a:t>thematisch gegliedert</a:t>
            </a:r>
            <a:r>
              <a:rPr lang="de-DE" sz="1200" baseline="0" dirty="0"/>
              <a:t> und auf die Zielgruppe zugeschnitten. </a:t>
            </a:r>
            <a:endParaRPr lang="de-DE" sz="1200" dirty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98E0E9-3C12-41A4-8A3A-A49D2D3EAB11}" type="slidenum">
              <a:rPr lang="de-AT" smtClean="0"/>
              <a:t>5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6689824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1FB95-585F-4DA2-8194-4F939D7D7BC5}" type="slidenum">
              <a:rPr lang="de-AT" smtClean="0"/>
              <a:t>6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442045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folie Grün">
    <p:bg>
      <p:bgPr>
        <a:solidFill>
          <a:srgbClr val="DEF1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A04ABA3-D9EF-0E40-A3D6-E3FFF1AD70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18270" y="4220308"/>
            <a:ext cx="8155459" cy="2164016"/>
          </a:xfrm>
        </p:spPr>
        <p:txBody>
          <a:bodyPr anchor="b">
            <a:normAutofit/>
          </a:bodyPr>
          <a:lstStyle>
            <a:lvl1pPr marL="0" indent="0" algn="ctr">
              <a:lnSpc>
                <a:spcPts val="2000"/>
              </a:lnSpc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402528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Pen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0905A65-1EC8-004E-91EA-63C2C6F3E6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7168" y="420688"/>
            <a:ext cx="6309026" cy="6016624"/>
          </a:xfrm>
        </p:spPr>
        <p:txBody>
          <a:bodyPr anchor="ctr">
            <a:normAutofit/>
          </a:bodyPr>
          <a:lstStyle>
            <a:lvl1pPr marL="0" indent="0" algn="l">
              <a:buNone/>
              <a:defRPr sz="4800" b="1"/>
            </a:lvl1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827C59F2-E074-1E40-83B3-C4D27964728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BAF9FB-CDA5-C04D-AA2A-74E2CF14E50B}" type="datetime4">
              <a:rPr lang="de-AT" smtClean="0"/>
              <a:t>25. Februar 2025</a:t>
            </a:fld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4C8903D4-FE94-D642-8FE9-86B40B2819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346AE62-E75F-EC49-A7A3-6D94D8A7A2CE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2E4DABF-F616-DC4B-983E-8F15CF1332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6053" y="1809750"/>
            <a:ext cx="2971800" cy="323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7530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Pfle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0905A65-1EC8-004E-91EA-63C2C6F3E6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7168" y="420688"/>
            <a:ext cx="5623510" cy="6016624"/>
          </a:xfrm>
        </p:spPr>
        <p:txBody>
          <a:bodyPr anchor="ctr">
            <a:normAutofit/>
          </a:bodyPr>
          <a:lstStyle>
            <a:lvl1pPr marL="0" indent="0" algn="l">
              <a:buNone/>
              <a:defRPr sz="4800" b="1"/>
            </a:lvl1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827C59F2-E074-1E40-83B3-C4D27964728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BAF9FB-CDA5-C04D-AA2A-74E2CF14E50B}" type="datetime4">
              <a:rPr lang="de-AT" smtClean="0"/>
              <a:t>25. Februar 2025</a:t>
            </a:fld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4C8903D4-FE94-D642-8FE9-86B40B2819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346AE62-E75F-EC49-A7A3-6D94D8A7A2CE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194B77F-CD39-414F-B68A-FCC04F2A2C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693312" y="1200150"/>
            <a:ext cx="3257550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052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Sicherh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0905A65-1EC8-004E-91EA-63C2C6F3E6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7168" y="420688"/>
            <a:ext cx="5818374" cy="6016624"/>
          </a:xfrm>
        </p:spPr>
        <p:txBody>
          <a:bodyPr anchor="ctr">
            <a:normAutofit/>
          </a:bodyPr>
          <a:lstStyle>
            <a:lvl1pPr marL="0" indent="0" algn="l">
              <a:buNone/>
              <a:defRPr sz="4800" b="1"/>
            </a:lvl1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827C59F2-E074-1E40-83B3-C4D27964728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BAF9FB-CDA5-C04D-AA2A-74E2CF14E50B}" type="datetime4">
              <a:rPr lang="de-AT" smtClean="0"/>
              <a:t>25. Februar 2025</a:t>
            </a:fld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4C8903D4-FE94-D642-8FE9-86B40B2819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346AE62-E75F-EC49-A7A3-6D94D8A7A2CE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4A24217-6339-8642-82E0-EAAB52A157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6772" y="1581150"/>
            <a:ext cx="4095750" cy="369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9474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Unf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0905A65-1EC8-004E-91EA-63C2C6F3E6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7168" y="420688"/>
            <a:ext cx="5818374" cy="6016624"/>
          </a:xfrm>
        </p:spPr>
        <p:txBody>
          <a:bodyPr anchor="ctr">
            <a:normAutofit/>
          </a:bodyPr>
          <a:lstStyle>
            <a:lvl1pPr marL="0" indent="0" algn="l">
              <a:buNone/>
              <a:defRPr sz="4800" b="1"/>
            </a:lvl1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827C59F2-E074-1E40-83B3-C4D27964728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BAF9FB-CDA5-C04D-AA2A-74E2CF14E50B}" type="datetime4">
              <a:rPr lang="de-AT" smtClean="0"/>
              <a:t>25. Februar 2025</a:t>
            </a:fld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4C8903D4-FE94-D642-8FE9-86B40B2819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346AE62-E75F-EC49-A7A3-6D94D8A7A2CE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3" name="Grafik 2" descr="Ein Bild, das Visitenkarte, Text, Umschlag enthält.&#10;&#10;Automatisch generierte Beschreibung">
            <a:extLst>
              <a:ext uri="{FF2B5EF4-FFF2-40B4-BE49-F238E27FC236}">
                <a16:creationId xmlns:a16="http://schemas.microsoft.com/office/drawing/2014/main" id="{026A274E-BE92-D541-88F8-10A884F411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1289" y="1825901"/>
            <a:ext cx="4913851" cy="3417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962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Unternehmensgründ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0905A65-1EC8-004E-91EA-63C2C6F3E6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7168" y="420688"/>
            <a:ext cx="5818374" cy="6016624"/>
          </a:xfrm>
        </p:spPr>
        <p:txBody>
          <a:bodyPr anchor="ctr">
            <a:normAutofit/>
          </a:bodyPr>
          <a:lstStyle>
            <a:lvl1pPr marL="0" indent="0" algn="l">
              <a:buNone/>
              <a:defRPr sz="4800" b="1"/>
            </a:lvl1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827C59F2-E074-1E40-83B3-C4D27964728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BAF9FB-CDA5-C04D-AA2A-74E2CF14E50B}" type="datetime4">
              <a:rPr lang="de-AT" smtClean="0"/>
              <a:t>25. Februar 2025</a:t>
            </a:fld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4C8903D4-FE94-D642-8FE9-86B40B2819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346AE62-E75F-EC49-A7A3-6D94D8A7A2CE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3" name="Grafik 2" descr="Ein Bild, das Visitenkarte enthält.&#10;&#10;Automatisch generierte Beschreibung">
            <a:extLst>
              <a:ext uri="{FF2B5EF4-FFF2-40B4-BE49-F238E27FC236}">
                <a16:creationId xmlns:a16="http://schemas.microsoft.com/office/drawing/2014/main" id="{7E0D0E88-F7D9-5C48-8F36-B3D885CBC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0024" y="1485900"/>
            <a:ext cx="3771900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8495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Versicherung-Beiträ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0905A65-1EC8-004E-91EA-63C2C6F3E6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7168" y="420688"/>
            <a:ext cx="5818374" cy="6016624"/>
          </a:xfrm>
        </p:spPr>
        <p:txBody>
          <a:bodyPr anchor="ctr">
            <a:normAutofit/>
          </a:bodyPr>
          <a:lstStyle>
            <a:lvl1pPr marL="0" indent="0" algn="l">
              <a:buNone/>
              <a:defRPr sz="4800" b="1"/>
            </a:lvl1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827C59F2-E074-1E40-83B3-C4D27964728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BAF9FB-CDA5-C04D-AA2A-74E2CF14E50B}" type="datetime4">
              <a:rPr lang="de-AT" smtClean="0"/>
              <a:t>25. Februar 2025</a:t>
            </a:fld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4C8903D4-FE94-D642-8FE9-86B40B2819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346AE62-E75F-EC49-A7A3-6D94D8A7A2CE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3" name="Grafik 2" descr="Ein Bild, das Visitenkarte, Text enthält.&#10;&#10;Automatisch generierte Beschreibung">
            <a:extLst>
              <a:ext uri="{FF2B5EF4-FFF2-40B4-BE49-F238E27FC236}">
                <a16:creationId xmlns:a16="http://schemas.microsoft.com/office/drawing/2014/main" id="{677532B8-B83D-6D49-A475-184C107C90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3923" y="1390650"/>
            <a:ext cx="4076700" cy="407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0878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mit 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C575014C-5759-4C48-A7B0-6BACC793E9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36C54D-D879-8F42-B4FB-24249138D5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0121" y="862016"/>
            <a:ext cx="10515600" cy="1141595"/>
          </a:xfrm>
        </p:spPr>
        <p:txBody>
          <a:bodyPr anchor="b">
            <a:normAutofit/>
          </a:bodyPr>
          <a:lstStyle>
            <a:lvl1pPr>
              <a:defRPr sz="4800" b="1">
                <a:solidFill>
                  <a:srgbClr val="00B050"/>
                </a:solidFill>
              </a:defRPr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6C55D5E-3B68-8D45-B010-7F9B0804A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75874-13CE-9E4F-9D6D-0F93EED5855D}" type="datetime4">
              <a:rPr lang="de-AT" smtClean="0"/>
              <a:t>25. Februar 2025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DD58771-1232-E142-A13D-21579BAB6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6AE62-E75F-EC49-A7A3-6D94D8A7A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AFF35B09-E047-3049-B442-419A36A3A8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92348" y="2246426"/>
            <a:ext cx="4583373" cy="3289094"/>
          </a:xfrm>
          <a:solidFill>
            <a:srgbClr val="5DB97C"/>
          </a:solidFill>
        </p:spPr>
        <p:txBody>
          <a:bodyPr>
            <a:normAutofit fontScale="85000" lnSpcReduction="10000"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b="1">
                <a:solidFill>
                  <a:schemeClr val="bg1"/>
                </a:solidFill>
              </a:rPr>
              <a:t>Mastertextformat bearbeiten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FD9AD718-F8FF-5D44-9940-CB09CB251D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0121" y="2256274"/>
            <a:ext cx="4235949" cy="3289094"/>
          </a:xfrm>
          <a:solidFill>
            <a:srgbClr val="DEF1E4"/>
          </a:solidFill>
        </p:spPr>
        <p:txBody>
          <a:bodyPr>
            <a:normAutofit fontScale="85000" lnSpcReduction="10000"/>
          </a:bodyPr>
          <a:lstStyle>
            <a:lvl1pPr marL="0" indent="0">
              <a:buNone/>
              <a:defRPr>
                <a:solidFill>
                  <a:srgbClr val="56565A"/>
                </a:solidFill>
              </a:defRPr>
            </a:lvl1pPr>
          </a:lstStyle>
          <a:p>
            <a:pPr lvl="0"/>
            <a:r>
              <a:rPr lang="de-DE" b="1">
                <a:solidFill>
                  <a:schemeClr val="bg1"/>
                </a:solidFill>
              </a:rPr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58108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22F9CCB8-A889-3A4B-A21E-D1279F0D09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1267" y="-106017"/>
            <a:ext cx="12303267" cy="699131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36C54D-D879-8F42-B4FB-24249138D5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1941" y="826959"/>
            <a:ext cx="10515600" cy="1145444"/>
          </a:xfrm>
        </p:spPr>
        <p:txBody>
          <a:bodyPr anchor="b">
            <a:normAutofit/>
          </a:bodyPr>
          <a:lstStyle>
            <a:lvl1pPr>
              <a:defRPr sz="4800" b="1">
                <a:solidFill>
                  <a:srgbClr val="5CB77A"/>
                </a:solidFill>
              </a:defRPr>
            </a:lvl1pPr>
          </a:lstStyle>
          <a:p>
            <a:r>
              <a:rPr lang="de-DE" dirty="0">
                <a:solidFill>
                  <a:srgbClr val="5CB77A"/>
                </a:solidFill>
              </a:rPr>
              <a:t>Überschrift für eine Textfoli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6C55D5E-3B68-8D45-B010-7F9B0804A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75874-13CE-9E4F-9D6D-0F93EED5855D}" type="datetime4">
              <a:rPr lang="de-AT" smtClean="0"/>
              <a:t>25. Februar 2025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DD58771-1232-E142-A13D-21579BAB6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6AE62-E75F-EC49-A7A3-6D94D8A7A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A056E812-C1C5-8947-9B53-5FE3E66838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1941" y="2265437"/>
            <a:ext cx="10015329" cy="3393242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sz="2800" dirty="0"/>
              <a:t>Text Text Text Text Text Text Text Text Text Text Text Text</a:t>
            </a:r>
          </a:p>
          <a:p>
            <a:r>
              <a:rPr lang="de-DE" sz="2800" dirty="0"/>
              <a:t>Text Text Text Text Text Text Text Text Text Text Text Text</a:t>
            </a:r>
          </a:p>
          <a:p>
            <a:r>
              <a:rPr lang="de-DE" sz="2800" dirty="0"/>
              <a:t>Text Text Text Text Text Text Text Text Text Text Text Text</a:t>
            </a:r>
          </a:p>
          <a:p>
            <a:endParaRPr lang="de-DE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800" dirty="0"/>
              <a:t>Aufzählu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800" dirty="0"/>
              <a:t>Aufzählung </a:t>
            </a:r>
          </a:p>
        </p:txBody>
      </p:sp>
    </p:spTree>
    <p:extLst>
      <p:ext uri="{BB962C8B-B14F-4D97-AF65-F5344CB8AC3E}">
        <p14:creationId xmlns:p14="http://schemas.microsoft.com/office/powerpoint/2010/main" val="40321360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E61E0D9-0D29-3944-855A-960C93ACE8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0746"/>
            <a:ext cx="12192000" cy="690874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36C54D-D879-8F42-B4FB-24249138D5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828" y="954156"/>
            <a:ext cx="11027217" cy="1123903"/>
          </a:xfrm>
        </p:spPr>
        <p:txBody>
          <a:bodyPr anchor="b">
            <a:normAutofit/>
          </a:bodyPr>
          <a:lstStyle>
            <a:lvl1pPr>
              <a:defRPr sz="4800" b="1">
                <a:solidFill>
                  <a:srgbClr val="5CB77A"/>
                </a:solidFill>
              </a:defRPr>
            </a:lvl1pPr>
          </a:lstStyle>
          <a:p>
            <a:r>
              <a:rPr lang="de-DE" dirty="0">
                <a:solidFill>
                  <a:srgbClr val="5CB77A"/>
                </a:solidFill>
              </a:rPr>
              <a:t>Überschrift für eine Textfolie mit Bild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6C55D5E-3B68-8D45-B010-7F9B0804A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75874-13CE-9E4F-9D6D-0F93EED5855D}" type="datetime4">
              <a:rPr lang="de-AT" smtClean="0"/>
              <a:t>25. Februar 2025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DD58771-1232-E142-A13D-21579BAB6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6AE62-E75F-EC49-A7A3-6D94D8A7A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A056E812-C1C5-8947-9B53-5FE3E66838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7080" y="2576063"/>
            <a:ext cx="5292065" cy="3013368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sz="2800" dirty="0"/>
              <a:t>Text Text Text Text Text Text</a:t>
            </a:r>
          </a:p>
          <a:p>
            <a:r>
              <a:rPr lang="de-DE" sz="2800" dirty="0"/>
              <a:t>Text Text Text Text Text Text</a:t>
            </a:r>
          </a:p>
          <a:p>
            <a:r>
              <a:rPr lang="de-DE" sz="2800" dirty="0"/>
              <a:t>Text Text Text Text Text Text</a:t>
            </a:r>
          </a:p>
          <a:p>
            <a:endParaRPr lang="de-DE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800" dirty="0"/>
              <a:t>Aufzählu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800" dirty="0"/>
              <a:t>Aufzählung </a:t>
            </a:r>
          </a:p>
        </p:txBody>
      </p:sp>
      <p:pic>
        <p:nvPicPr>
          <p:cNvPr id="10" name="Bildplatzhalter 12">
            <a:extLst>
              <a:ext uri="{FF2B5EF4-FFF2-40B4-BE49-F238E27FC236}">
                <a16:creationId xmlns:a16="http://schemas.microsoft.com/office/drawing/2014/main" id="{7CA99ABA-795D-8341-B9B0-420BCC7001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301180" y="2576061"/>
            <a:ext cx="5357102" cy="3013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4642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B5B40942-D5DC-6F43-9B6C-B10465B1E0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36C54D-D879-8F42-B4FB-24249138D5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8932" y="809761"/>
            <a:ext cx="10939422" cy="1145443"/>
          </a:xfrm>
        </p:spPr>
        <p:txBody>
          <a:bodyPr anchor="b">
            <a:normAutofit/>
          </a:bodyPr>
          <a:lstStyle>
            <a:lvl1pPr>
              <a:defRPr sz="4800" b="1">
                <a:solidFill>
                  <a:srgbClr val="00B050"/>
                </a:solidFill>
              </a:defRPr>
            </a:lvl1pPr>
          </a:lstStyle>
          <a:p>
            <a:r>
              <a:rPr lang="de-DE" dirty="0">
                <a:solidFill>
                  <a:srgbClr val="5CB77A"/>
                </a:solidFill>
              </a:rPr>
              <a:t>Überschrift für eine Textfoli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6C55D5E-3B68-8D45-B010-7F9B0804A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75874-13CE-9E4F-9D6D-0F93EED5855D}" type="datetime4">
              <a:rPr lang="de-AT" smtClean="0"/>
              <a:t>25. Februar 2025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DD58771-1232-E142-A13D-21579BAB6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6AE62-E75F-EC49-A7A3-6D94D8A7A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A056E812-C1C5-8947-9B53-5FE3E66838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5436" y="2369925"/>
            <a:ext cx="10926170" cy="3129727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sz="2800" dirty="0"/>
              <a:t>Text Text Text Text Text Text Text Text Text Text Text</a:t>
            </a:r>
          </a:p>
          <a:p>
            <a:r>
              <a:rPr lang="de-DE" sz="2800" dirty="0"/>
              <a:t>Text Text Text Text Text Text Text Text Text Text Text</a:t>
            </a:r>
          </a:p>
          <a:p>
            <a:r>
              <a:rPr lang="de-DE" sz="2800" dirty="0"/>
              <a:t>Text Text Text Text Text Text Text Text Text Text Text</a:t>
            </a:r>
          </a:p>
          <a:p>
            <a:endParaRPr lang="de-DE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800" dirty="0"/>
              <a:t>Aufzählu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800" dirty="0"/>
              <a:t>Aufzählung </a:t>
            </a:r>
          </a:p>
        </p:txBody>
      </p:sp>
    </p:spTree>
    <p:extLst>
      <p:ext uri="{BB962C8B-B14F-4D97-AF65-F5344CB8AC3E}">
        <p14:creationId xmlns:p14="http://schemas.microsoft.com/office/powerpoint/2010/main" val="5196902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folie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1" cy="6858001"/>
          </a:xfrm>
          <a:prstGeom prst="rect">
            <a:avLst/>
          </a:prstGeom>
        </p:spPr>
      </p:pic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A940B7DA-7A07-E343-ACE1-D23B1B8002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18270" y="4220308"/>
            <a:ext cx="8155459" cy="2164016"/>
          </a:xfrm>
        </p:spPr>
        <p:txBody>
          <a:bodyPr anchor="b">
            <a:normAutofit/>
          </a:bodyPr>
          <a:lstStyle>
            <a:lvl1pPr marL="0" indent="0" algn="ctr">
              <a:lnSpc>
                <a:spcPts val="2000"/>
              </a:lnSpc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3052445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ewerb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8238"/>
            <a:ext cx="12192000" cy="6875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5397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Bau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9625"/>
            <a:ext cx="12192000" cy="6869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1702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Neue Selbständ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2404"/>
            <a:ext cx="12192000" cy="6920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4378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esundh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4721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Krankh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543005" cy="6862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4545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Pen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0099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Pfle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14669" cy="6862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7160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Pfle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0"/>
          <a:stretch/>
        </p:blipFill>
        <p:spPr>
          <a:xfrm>
            <a:off x="0" y="-24714"/>
            <a:ext cx="12192000" cy="688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3767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Unf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9" y="0"/>
            <a:ext cx="12190971" cy="6870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4935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Kinder + Fami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6"/>
            <a:ext cx="12192000" cy="6871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691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rtfolie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74454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Versicherung &amp; Bei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B2BBD1E-8A61-D34B-A317-7E473FE9E1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7089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154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1 grün">
    <p:bg>
      <p:bgPr>
        <a:solidFill>
          <a:srgbClr val="DEF1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8D845AC-78D8-6047-98A2-0680EDF665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0557" y="2171429"/>
            <a:ext cx="10490886" cy="2301392"/>
          </a:xfrm>
        </p:spPr>
        <p:txBody>
          <a:bodyPr anchor="ctr">
            <a:normAutofit/>
          </a:bodyPr>
          <a:lstStyle>
            <a:lvl1pPr marL="0" indent="0" algn="ctr">
              <a:buNone/>
              <a:defRPr sz="4800" b="1">
                <a:solidFill>
                  <a:srgbClr val="5CB77A"/>
                </a:solidFill>
              </a:defRPr>
            </a:lvl1pPr>
          </a:lstStyle>
          <a:p>
            <a:pPr lvl="0"/>
            <a:r>
              <a:rPr lang="de-DE" dirty="0"/>
              <a:t>Danksagung einfügen</a:t>
            </a:r>
          </a:p>
        </p:txBody>
      </p:sp>
    </p:spTree>
    <p:extLst>
      <p:ext uri="{BB962C8B-B14F-4D97-AF65-F5344CB8AC3E}">
        <p14:creationId xmlns:p14="http://schemas.microsoft.com/office/powerpoint/2010/main" val="13425536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1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0"/>
            <a:ext cx="12192001" cy="6858000"/>
          </a:xfrm>
          <a:prstGeom prst="rect">
            <a:avLst/>
          </a:prstGeom>
        </p:spPr>
      </p:pic>
      <p:sp>
        <p:nvSpPr>
          <p:cNvPr id="7" name="Textplatzhalter 9">
            <a:extLst>
              <a:ext uri="{FF2B5EF4-FFF2-40B4-BE49-F238E27FC236}">
                <a16:creationId xmlns:a16="http://schemas.microsoft.com/office/drawing/2014/main" id="{C8D845AC-78D8-6047-98A2-0680EDF665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0557" y="2171429"/>
            <a:ext cx="10490886" cy="2301392"/>
          </a:xfrm>
        </p:spPr>
        <p:txBody>
          <a:bodyPr anchor="ctr">
            <a:normAutofit/>
          </a:bodyPr>
          <a:lstStyle>
            <a:lvl1pPr marL="0" indent="0" algn="ctr">
              <a:buNone/>
              <a:defRPr sz="4800" b="1">
                <a:solidFill>
                  <a:srgbClr val="5CB77A"/>
                </a:solidFill>
              </a:defRPr>
            </a:lvl1pPr>
          </a:lstStyle>
          <a:p>
            <a:pPr lvl="0"/>
            <a:r>
              <a:rPr lang="de-DE" dirty="0"/>
              <a:t>Danksagung einfügen</a:t>
            </a:r>
          </a:p>
        </p:txBody>
      </p:sp>
    </p:spTree>
    <p:extLst>
      <p:ext uri="{BB962C8B-B14F-4D97-AF65-F5344CB8AC3E}">
        <p14:creationId xmlns:p14="http://schemas.microsoft.com/office/powerpoint/2010/main" val="22329414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2 grü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"/>
            <a:ext cx="12192002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0142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2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7735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1275CA92-1020-B449-8E45-8D9448FB96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98389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36C54D-D879-8F42-B4FB-24249138D5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510567"/>
          </a:xfrm>
        </p:spPr>
        <p:txBody>
          <a:bodyPr anchor="b">
            <a:normAutofit/>
          </a:bodyPr>
          <a:lstStyle>
            <a:lvl1pPr>
              <a:defRPr sz="4800" b="1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6C55D5E-3B68-8D45-B010-7F9B0804A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A8C7C-AABC-4D0E-8A9B-EC54B3AC7229}" type="datetime4">
              <a:rPr lang="de-AT" smtClean="0"/>
              <a:t>25. Februar 2025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DD58771-1232-E142-A13D-21579BAB6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6AE62-E75F-EC49-A7A3-6D94D8A7A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CF14B61-DA94-F54A-8BB4-F5E3BD71BA3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286000"/>
            <a:ext cx="10515599" cy="4021138"/>
          </a:xfrm>
        </p:spPr>
        <p:txBody>
          <a:bodyPr anchor="t">
            <a:norm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02013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folie Grün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platzhalter 1"/>
          <p:cNvSpPr>
            <a:spLocks noGrp="1"/>
          </p:cNvSpPr>
          <p:nvPr>
            <p:ph type="body" sz="quarter" idx="10" hasCustomPrompt="1"/>
          </p:nvPr>
        </p:nvSpPr>
        <p:spPr>
          <a:xfrm>
            <a:off x="850557" y="2171429"/>
            <a:ext cx="10490886" cy="2301392"/>
          </a:xfrm>
        </p:spPr>
        <p:txBody>
          <a:bodyPr anchor="ctr">
            <a:normAutofit/>
          </a:bodyPr>
          <a:lstStyle>
            <a:lvl1pPr marL="0" indent="0" algn="ctr">
              <a:buNone/>
              <a:defRPr sz="4800" b="1">
                <a:solidFill>
                  <a:srgbClr val="5CB77A"/>
                </a:solidFill>
              </a:defRPr>
            </a:lvl1pPr>
          </a:lstStyle>
          <a:p>
            <a:r>
              <a:rPr lang="de-DE" dirty="0"/>
              <a:t>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40395458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bg>
      <p:bgPr>
        <a:solidFill>
          <a:srgbClr val="5CB7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7650156-8FEB-D448-945B-40302E703C5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63" y="617838"/>
            <a:ext cx="10699750" cy="56845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für </a:t>
            </a:r>
            <a:br>
              <a:rPr lang="de-DE" dirty="0"/>
            </a:br>
            <a:r>
              <a:rPr lang="de-DE" dirty="0"/>
              <a:t>eine mögliche Zwischenfolie oder eine Textfolie mit wenig Text</a:t>
            </a:r>
          </a:p>
        </p:txBody>
      </p:sp>
    </p:spTree>
    <p:extLst>
      <p:ext uri="{BB962C8B-B14F-4D97-AF65-F5344CB8AC3E}">
        <p14:creationId xmlns:p14="http://schemas.microsoft.com/office/powerpoint/2010/main" val="2384615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0905A65-1EC8-004E-91EA-63C2C6F3E6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7168" y="420688"/>
            <a:ext cx="5818374" cy="6016624"/>
          </a:xfrm>
        </p:spPr>
        <p:txBody>
          <a:bodyPr anchor="ctr">
            <a:normAutofit/>
          </a:bodyPr>
          <a:lstStyle>
            <a:lvl1pPr marL="0" indent="0" algn="l">
              <a:buNone/>
              <a:defRPr sz="4800" b="1"/>
            </a:lvl1pPr>
          </a:lstStyle>
          <a:p>
            <a:pPr lvl="0"/>
            <a:r>
              <a:rPr lang="de-DE" dirty="0"/>
              <a:t>Text hinzufüg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2BB4A89-FDC5-D94E-B1EA-32BC0C1418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187" y="2127252"/>
            <a:ext cx="4002324" cy="2630099"/>
          </a:xfrm>
          <a:prstGeom prst="rect">
            <a:avLst/>
          </a:prstGeom>
        </p:spPr>
      </p:pic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827C59F2-E074-1E40-83B3-C4D27964728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BAF9FB-CDA5-C04D-AA2A-74E2CF14E50B}" type="datetime4">
              <a:rPr lang="de-AT" smtClean="0"/>
              <a:t>25. Februar 2025</a:t>
            </a:fld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4C8903D4-FE94-D642-8FE9-86B40B2819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346AE62-E75F-EC49-A7A3-6D94D8A7A2C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0465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Gesundh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0905A65-1EC8-004E-91EA-63C2C6F3E6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7167" y="420688"/>
            <a:ext cx="6113083" cy="6016624"/>
          </a:xfrm>
        </p:spPr>
        <p:txBody>
          <a:bodyPr anchor="ctr">
            <a:normAutofit/>
          </a:bodyPr>
          <a:lstStyle>
            <a:lvl1pPr marL="0" indent="0" algn="l">
              <a:buNone/>
              <a:defRPr sz="4800" b="1"/>
            </a:lvl1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827C59F2-E074-1E40-83B3-C4D27964728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BAF9FB-CDA5-C04D-AA2A-74E2CF14E50B}" type="datetime4">
              <a:rPr lang="de-AT" smtClean="0"/>
              <a:t>25. Februar 2025</a:t>
            </a:fld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4C8903D4-FE94-D642-8FE9-86B40B2819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346AE62-E75F-EC49-A7A3-6D94D8A7A2CE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3" name="Grafik 2" descr="Ein Bild, das Vektorgrafiken enthält.&#10;&#10;Automatisch generierte Beschreibung">
            <a:extLst>
              <a:ext uri="{FF2B5EF4-FFF2-40B4-BE49-F238E27FC236}">
                <a16:creationId xmlns:a16="http://schemas.microsoft.com/office/drawing/2014/main" id="{B2ADF5A3-EB64-9341-A613-EBD46EC834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0462" y="1676400"/>
            <a:ext cx="3505200" cy="35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8766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Kinder-Fami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0905A65-1EC8-004E-91EA-63C2C6F3E6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7168" y="420688"/>
            <a:ext cx="5818374" cy="6016624"/>
          </a:xfrm>
        </p:spPr>
        <p:txBody>
          <a:bodyPr anchor="ctr">
            <a:normAutofit/>
          </a:bodyPr>
          <a:lstStyle>
            <a:lvl1pPr marL="0" indent="0" algn="l">
              <a:buNone/>
              <a:defRPr sz="4800" b="1"/>
            </a:lvl1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827C59F2-E074-1E40-83B3-C4D27964728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BAF9FB-CDA5-C04D-AA2A-74E2CF14E50B}" type="datetime4">
              <a:rPr lang="de-AT" smtClean="0"/>
              <a:t>25. Februar 2025</a:t>
            </a:fld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4C8903D4-FE94-D642-8FE9-86B40B2819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346AE62-E75F-EC49-A7A3-6D94D8A7A2CE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3" name="Grafik 2" descr="Ein Bild, das Visitenkarte enthält.&#10;&#10;Automatisch generierte Beschreibung">
            <a:extLst>
              <a:ext uri="{FF2B5EF4-FFF2-40B4-BE49-F238E27FC236}">
                <a16:creationId xmlns:a16="http://schemas.microsoft.com/office/drawing/2014/main" id="{9B669271-65F2-7D46-8BC5-86EE35C223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7257" y="1657350"/>
            <a:ext cx="3771900" cy="3543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518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Krankh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0905A65-1EC8-004E-91EA-63C2C6F3E6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7168" y="420688"/>
            <a:ext cx="5818374" cy="6016624"/>
          </a:xfrm>
        </p:spPr>
        <p:txBody>
          <a:bodyPr anchor="ctr">
            <a:normAutofit/>
          </a:bodyPr>
          <a:lstStyle>
            <a:lvl1pPr marL="0" indent="0" algn="l">
              <a:buNone/>
              <a:defRPr sz="4800" b="1"/>
            </a:lvl1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827C59F2-E074-1E40-83B3-C4D27964728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7BAF9FB-CDA5-C04D-AA2A-74E2CF14E50B}" type="datetime4">
              <a:rPr lang="de-AT" smtClean="0"/>
              <a:t>25. Februar 2025</a:t>
            </a:fld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4C8903D4-FE94-D642-8FE9-86B40B2819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346AE62-E75F-EC49-A7A3-6D94D8A7A2CE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3" name="Grafik 2" descr="Ein Bild, das Objekt enthält.&#10;&#10;Automatisch generierte Beschreibung">
            <a:extLst>
              <a:ext uri="{FF2B5EF4-FFF2-40B4-BE49-F238E27FC236}">
                <a16:creationId xmlns:a16="http://schemas.microsoft.com/office/drawing/2014/main" id="{080E050F-8E1A-D048-AFDB-510FDA15FA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3594" y="1581150"/>
            <a:ext cx="4591050" cy="369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9869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B26A4CF-5E66-5F4F-8625-06ACDDA9F1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C55B69D-933E-264E-9975-E4B837D5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D90D209-0E8D-9C4C-9F3B-97950D8E37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6860" y="18256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5656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D0B592D-A7B1-324B-B62F-963746A4087C}" type="datetime4">
              <a:rPr lang="de-AT" smtClean="0"/>
              <a:t>25. Februar 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70B010-DAB2-044D-9B27-135CED6E2B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5656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8D95B3D-427C-3141-BF4A-D1C1CED635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1940" y="18256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5656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346AE62-E75F-EC49-A7A3-6D94D8A7A2C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2920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97" r:id="rId3"/>
    <p:sldLayoutId id="2147483691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8" r:id="rId17"/>
    <p:sldLayoutId id="2147483696" r:id="rId18"/>
    <p:sldLayoutId id="2147483695" r:id="rId19"/>
    <p:sldLayoutId id="2147483663" r:id="rId20"/>
    <p:sldLayoutId id="2147483664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77" r:id="rId31"/>
    <p:sldLayoutId id="2147483692" r:id="rId32"/>
    <p:sldLayoutId id="2147483694" r:id="rId33"/>
    <p:sldLayoutId id="2147483693" r:id="rId34"/>
    <p:sldLayoutId id="2147483698" r:id="rId35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56565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56565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56565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56565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56565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56565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mailto:birgit.seiberl@svs.at" TargetMode="External"/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32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1.jpeg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34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DE" sz="5500" dirty="0"/>
              <a:t>Gesundheit &amp; Vorsorge</a:t>
            </a:r>
            <a:endParaRPr lang="de-AT" sz="5500" dirty="0"/>
          </a:p>
        </p:txBody>
      </p:sp>
    </p:spTree>
    <p:extLst>
      <p:ext uri="{BB962C8B-B14F-4D97-AF65-F5344CB8AC3E}">
        <p14:creationId xmlns:p14="http://schemas.microsoft.com/office/powerpoint/2010/main" val="21780515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8764" y="1875692"/>
            <a:ext cx="2170706" cy="27133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86" imgH="286" progId="TCLayout.ActiveDocument.1">
                  <p:embed/>
                </p:oleObj>
              </mc:Choice>
              <mc:Fallback>
                <p:oleObj name="think-cell Folie" r:id="rId6" imgW="286" imgH="28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de-DE" sz="4000" dirty="0">
                <a:solidFill>
                  <a:srgbClr val="5CB77A"/>
                </a:solidFill>
              </a:rPr>
              <a:t>Birgit </a:t>
            </a:r>
            <a:r>
              <a:rPr lang="de-DE" sz="4000" dirty="0" err="1">
                <a:solidFill>
                  <a:srgbClr val="5CB77A"/>
                </a:solidFill>
              </a:rPr>
              <a:t>Seiberl</a:t>
            </a:r>
            <a:r>
              <a:rPr lang="de-DE" sz="4000" dirty="0">
                <a:solidFill>
                  <a:srgbClr val="5CB77A"/>
                </a:solidFill>
              </a:rPr>
              <a:t>, BA</a:t>
            </a:r>
            <a:br>
              <a:rPr lang="de-DE" sz="4000" dirty="0">
                <a:solidFill>
                  <a:srgbClr val="5CB77A"/>
                </a:solidFill>
              </a:rPr>
            </a:br>
            <a:r>
              <a:rPr lang="de-DE" sz="2700" dirty="0">
                <a:solidFill>
                  <a:srgbClr val="5CB77A"/>
                </a:solidFill>
              </a:rPr>
              <a:t>Sportwissenschaftlerin &amp; Sicherheitsfachkraft</a:t>
            </a:r>
            <a:br>
              <a:rPr lang="de-DE" sz="4000" dirty="0">
                <a:solidFill>
                  <a:srgbClr val="5CB77A"/>
                </a:solidFill>
              </a:rPr>
            </a:br>
            <a:endParaRPr lang="de-AT" sz="4000" dirty="0">
              <a:solidFill>
                <a:srgbClr val="5CB77A"/>
              </a:solidFill>
            </a:endParaRP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838200" y="2286000"/>
            <a:ext cx="8610564" cy="4021138"/>
          </a:xfrm>
        </p:spPr>
        <p:txBody>
          <a:bodyPr>
            <a:normAutofit fontScale="92500" lnSpcReduction="20000"/>
          </a:bodyPr>
          <a:lstStyle/>
          <a:p>
            <a:pPr marL="342900" lvl="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dirty="0"/>
              <a:t>Sportwissenschaftlerin</a:t>
            </a:r>
            <a:endParaRPr lang="de-AT" dirty="0"/>
          </a:p>
          <a:p>
            <a:pPr marL="342900" lvl="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dirty="0"/>
              <a:t>Trainerausbildungen</a:t>
            </a:r>
            <a:r>
              <a:rPr lang="de-AT" dirty="0"/>
              <a:t> (Yoga, Personal Trainer, Bewegungstherapie usw.)</a:t>
            </a:r>
          </a:p>
          <a:p>
            <a:pPr marL="342900" lvl="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dirty="0"/>
              <a:t>Sicherheitsfachkraft</a:t>
            </a:r>
            <a:endParaRPr lang="de-AT" dirty="0"/>
          </a:p>
          <a:p>
            <a:pPr marL="342900" lvl="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dirty="0"/>
              <a:t>Sicherheits-, und Gesundheitsberaterin SVS</a:t>
            </a:r>
            <a:endParaRPr lang="de-AT" dirty="0"/>
          </a:p>
          <a:p>
            <a:pPr lvl="0">
              <a:lnSpc>
                <a:spcPct val="120000"/>
              </a:lnSpc>
            </a:pPr>
            <a:r>
              <a:rPr lang="de-DE" dirty="0"/>
              <a:t>    Schwerpunkt Gesundheitsförderung</a:t>
            </a:r>
          </a:p>
          <a:p>
            <a:pPr lvl="0">
              <a:lnSpc>
                <a:spcPct val="120000"/>
              </a:lnSpc>
            </a:pPr>
            <a:endParaRPr lang="de-DE" dirty="0">
              <a:hlinkClick r:id="rId8"/>
            </a:endParaRPr>
          </a:p>
          <a:p>
            <a:pPr lvl="0">
              <a:lnSpc>
                <a:spcPct val="120000"/>
              </a:lnSpc>
            </a:pPr>
            <a:r>
              <a:rPr lang="de-DE" dirty="0">
                <a:hlinkClick r:id="rId8"/>
              </a:rPr>
              <a:t>Sg.w@svs.at</a:t>
            </a:r>
            <a:r>
              <a:rPr lang="de-DE" dirty="0"/>
              <a:t> </a:t>
            </a:r>
            <a:endParaRPr lang="de-AT" dirty="0"/>
          </a:p>
          <a:p>
            <a:pPr>
              <a:lnSpc>
                <a:spcPct val="120000"/>
              </a:lnSpc>
            </a:pPr>
            <a:r>
              <a:rPr lang="de-AT" dirty="0"/>
              <a:t>050 808 808</a:t>
            </a:r>
          </a:p>
        </p:txBody>
      </p:sp>
    </p:spTree>
    <p:extLst>
      <p:ext uri="{BB962C8B-B14F-4D97-AF65-F5344CB8AC3E}">
        <p14:creationId xmlns:p14="http://schemas.microsoft.com/office/powerpoint/2010/main" val="23023150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7924" y="2244259"/>
            <a:ext cx="10515600" cy="151056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de-DE" sz="4400" dirty="0">
                <a:solidFill>
                  <a:srgbClr val="5CB77A"/>
                </a:solidFill>
              </a:rPr>
              <a:t>Welchen Sport/welche Bewegung machen Sie regelmäßig?</a:t>
            </a:r>
            <a:endParaRPr lang="de-AT" sz="4400" dirty="0">
              <a:solidFill>
                <a:srgbClr val="5CB77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4325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8025" y="766450"/>
            <a:ext cx="9581707" cy="871310"/>
          </a:xfrm>
        </p:spPr>
        <p:txBody>
          <a:bodyPr>
            <a:normAutofit/>
          </a:bodyPr>
          <a:lstStyle/>
          <a:p>
            <a:r>
              <a:rPr lang="de-DE" sz="4000" dirty="0">
                <a:solidFill>
                  <a:srgbClr val="5CB77A"/>
                </a:solidFill>
              </a:rPr>
              <a:t>Prävention – Positive Effekte</a:t>
            </a:r>
            <a:endParaRPr lang="de-AT" sz="4000" dirty="0">
              <a:solidFill>
                <a:srgbClr val="5CB77A"/>
              </a:solidFill>
            </a:endParaRPr>
          </a:p>
        </p:txBody>
      </p:sp>
      <p:pic>
        <p:nvPicPr>
          <p:cNvPr id="53250" name="Picture 2" descr="https://fgoe.org/sites/fgoe.org/files/2021-03/Grafik%20Erwachsen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5660" y="2173435"/>
            <a:ext cx="4740679" cy="4152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5469622" y="6316911"/>
            <a:ext cx="197980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" dirty="0">
                <a:latin typeface="Arial" panose="020B0604020202020204" pitchFamily="34" charset="0"/>
                <a:cs typeface="Arial" panose="020B0604020202020204" pitchFamily="34" charset="0"/>
              </a:rPr>
              <a:t>@ Fonds Gesundes Österreich</a:t>
            </a:r>
            <a:endParaRPr lang="de-AT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8144444" y="5299620"/>
            <a:ext cx="27413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solidFill>
                  <a:srgbClr val="11C1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wichtsmanagement</a:t>
            </a:r>
            <a:endParaRPr lang="de-AT" sz="2000" dirty="0">
              <a:solidFill>
                <a:srgbClr val="11C1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7840732" y="2449898"/>
            <a:ext cx="27413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tive Anpassung Herz-Kreislauf-System</a:t>
            </a:r>
            <a:endParaRPr lang="de-AT" sz="20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530042" y="2410581"/>
            <a:ext cx="27413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ärkung Immunsystem</a:t>
            </a:r>
            <a:endParaRPr lang="de-AT" sz="2000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520854" y="3933484"/>
            <a:ext cx="27413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hlbefinden</a:t>
            </a:r>
            <a:endParaRPr lang="de-AT" sz="20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8929792" y="3731990"/>
            <a:ext cx="27413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besserung Leistungsfähigkeit</a:t>
            </a:r>
            <a:endParaRPr lang="de-AT" sz="20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1433066" y="5145732"/>
            <a:ext cx="27413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solidFill>
                  <a:srgbClr val="D2A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besserte Sauerstoffversorgung</a:t>
            </a:r>
            <a:endParaRPr lang="de-AT" sz="2000" dirty="0">
              <a:solidFill>
                <a:srgbClr val="D2A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1620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  <p:bldP spid="11" grpId="0"/>
      <p:bldP spid="12" grpId="0"/>
      <p:bldP spid="13" grpId="0"/>
      <p:bldP spid="1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8932" y="809761"/>
            <a:ext cx="7058281" cy="1145443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de-DE" sz="4000" dirty="0">
                <a:solidFill>
                  <a:srgbClr val="5CB77A"/>
                </a:solidFill>
              </a:rPr>
              <a:t>Gesundheitsförderungs- &amp; Präventionsangebot</a:t>
            </a:r>
            <a:endParaRPr lang="de-AT" sz="4000" dirty="0">
              <a:solidFill>
                <a:srgbClr val="5CB77A"/>
              </a:solidFill>
            </a:endParaRPr>
          </a:p>
        </p:txBody>
      </p:sp>
      <p:graphicFrame>
        <p:nvGraphicFramePr>
          <p:cNvPr id="8" name="Diagramm 7"/>
          <p:cNvGraphicFramePr/>
          <p:nvPr/>
        </p:nvGraphicFramePr>
        <p:xfrm>
          <a:off x="616679" y="2660146"/>
          <a:ext cx="10165494" cy="25207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2" name="Diagramm 11"/>
          <p:cNvGraphicFramePr/>
          <p:nvPr/>
        </p:nvGraphicFramePr>
        <p:xfrm>
          <a:off x="616679" y="4443454"/>
          <a:ext cx="10505589" cy="1781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5" name="Grafik 4" descr="Ein Bild, das Muster, Quadrat, Symmetrie, Grafiken enthält.&#10;&#10;KI-generierte Inhalte können fehlerhaft sein.">
            <a:extLst>
              <a:ext uri="{FF2B5EF4-FFF2-40B4-BE49-F238E27FC236}">
                <a16:creationId xmlns:a16="http://schemas.microsoft.com/office/drawing/2014/main" id="{0D7716E3-DE60-09C5-A8F7-6033257EB94F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213" y="895141"/>
            <a:ext cx="1765005" cy="1765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8339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7" y="707916"/>
            <a:ext cx="10515600" cy="706111"/>
          </a:xfrm>
        </p:spPr>
        <p:txBody>
          <a:bodyPr>
            <a:normAutofit/>
          </a:bodyPr>
          <a:lstStyle/>
          <a:p>
            <a:r>
              <a:rPr lang="de-DE" sz="4000" dirty="0">
                <a:solidFill>
                  <a:srgbClr val="5CB77A"/>
                </a:solidFill>
              </a:rPr>
              <a:t>Prävention - Motivationstipps</a:t>
            </a:r>
            <a:endParaRPr lang="de-AT" sz="4000" dirty="0">
              <a:solidFill>
                <a:srgbClr val="5CB77A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838199" y="1857589"/>
            <a:ext cx="10930855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400" dirty="0">
                <a:solidFill>
                  <a:srgbClr val="5656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Sport suchen, der Spaß macht!</a:t>
            </a:r>
            <a:endParaRPr lang="de-AT" sz="2400" dirty="0">
              <a:solidFill>
                <a:srgbClr val="5656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838197" y="2431041"/>
            <a:ext cx="10930856" cy="46166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400" dirty="0">
                <a:solidFill>
                  <a:srgbClr val="5656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Sport im Kalender eintragen</a:t>
            </a:r>
            <a:endParaRPr lang="de-AT" sz="2400" dirty="0">
              <a:solidFill>
                <a:srgbClr val="5656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838197" y="3002966"/>
            <a:ext cx="10930856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400" dirty="0">
                <a:solidFill>
                  <a:srgbClr val="5656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Sportkleidung gleich anziehen</a:t>
            </a:r>
            <a:endParaRPr lang="de-AT" sz="2400" dirty="0">
              <a:solidFill>
                <a:srgbClr val="5656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838197" y="3569123"/>
            <a:ext cx="10930857" cy="46166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400" dirty="0">
                <a:solidFill>
                  <a:srgbClr val="5656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Gesundheitsbewusstsein stärken – Habe ich wirklich keine Zeit dafür? </a:t>
            </a:r>
            <a:endParaRPr lang="de-AT" sz="2400" dirty="0">
              <a:solidFill>
                <a:srgbClr val="5656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838197" y="4142575"/>
            <a:ext cx="10930856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400" dirty="0">
                <a:solidFill>
                  <a:srgbClr val="5656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Motivierendes Umfeld suchen (z.B. Sportbuddy)</a:t>
            </a:r>
            <a:endParaRPr lang="de-AT" sz="2400" dirty="0">
              <a:solidFill>
                <a:srgbClr val="5656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838197" y="4705700"/>
            <a:ext cx="10930856" cy="46166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400" dirty="0">
                <a:solidFill>
                  <a:srgbClr val="5656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. Abwechslung macht das Leben bunter</a:t>
            </a:r>
            <a:endParaRPr lang="de-AT" sz="2400" dirty="0">
              <a:solidFill>
                <a:srgbClr val="5656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838196" y="5286352"/>
            <a:ext cx="10930857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400" dirty="0">
                <a:solidFill>
                  <a:srgbClr val="5656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 Sei stolz für dich und deine Leistung</a:t>
            </a:r>
            <a:endParaRPr lang="de-AT" sz="2400" dirty="0">
              <a:solidFill>
                <a:srgbClr val="5656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838195" y="5849477"/>
            <a:ext cx="10930858" cy="46166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400" dirty="0">
                <a:solidFill>
                  <a:srgbClr val="5656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. Schreibe deine Ziele auf und hänge sie auf die Kühlschranktür, Spiegel, …</a:t>
            </a:r>
            <a:endParaRPr lang="de-AT" sz="2400" dirty="0">
              <a:solidFill>
                <a:srgbClr val="5656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34710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C039DBC-9D95-0A41-B7D3-853345386A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8270" y="4646428"/>
            <a:ext cx="8155459" cy="1004250"/>
          </a:xfrm>
        </p:spPr>
        <p:txBody>
          <a:bodyPr>
            <a:normAutofit/>
          </a:bodyPr>
          <a:lstStyle/>
          <a:p>
            <a:r>
              <a:rPr lang="de-DE" sz="5000" b="1" dirty="0">
                <a:solidFill>
                  <a:srgbClr val="5CB77A"/>
                </a:solidFill>
              </a:rPr>
              <a:t>Herzlichen Dank!</a:t>
            </a:r>
          </a:p>
        </p:txBody>
      </p:sp>
    </p:spTree>
    <p:extLst>
      <p:ext uri="{BB962C8B-B14F-4D97-AF65-F5344CB8AC3E}">
        <p14:creationId xmlns:p14="http://schemas.microsoft.com/office/powerpoint/2010/main" val="32042719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QHbN.ighK_OV_7.cgc2A"/>
</p:tagLst>
</file>

<file path=ppt/theme/theme1.xml><?xml version="1.0" encoding="utf-8"?>
<a:theme xmlns:a="http://schemas.openxmlformats.org/drawingml/2006/main" name="1_Office">
  <a:themeElements>
    <a:clrScheme name="Benutzerdefiniert 4">
      <a:dk1>
        <a:srgbClr val="000000"/>
      </a:dk1>
      <a:lt1>
        <a:srgbClr val="FFFFFF"/>
      </a:lt1>
      <a:dk2>
        <a:srgbClr val="565650"/>
      </a:dk2>
      <a:lt2>
        <a:srgbClr val="E1F0E5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Template svs_2023_kleiner" id="{2DC752C9-1863-EF40-87D5-77FE5F005B73}" vid="{F821EF82-EA24-0748-8DBB-05B48011AB8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 Template svs_2023_kleiner</Template>
  <TotalTime>0</TotalTime>
  <Words>203</Words>
  <Application>Microsoft Office PowerPoint</Application>
  <PresentationFormat>Breitbild</PresentationFormat>
  <Paragraphs>51</Paragraphs>
  <Slides>7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1" baseType="lpstr">
      <vt:lpstr>Aptos</vt:lpstr>
      <vt:lpstr>Arial</vt:lpstr>
      <vt:lpstr>1_Office</vt:lpstr>
      <vt:lpstr>think-cell Folie</vt:lpstr>
      <vt:lpstr>PowerPoint-Präsentation</vt:lpstr>
      <vt:lpstr>Birgit Seiberl, BA Sportwissenschaftlerin &amp; Sicherheitsfachkraft </vt:lpstr>
      <vt:lpstr>Welchen Sport/welche Bewegung machen Sie regelmäßig?</vt:lpstr>
      <vt:lpstr>Prävention – Positive Effekte</vt:lpstr>
      <vt:lpstr>Gesundheitsförderungs- &amp; Präventionsangebot</vt:lpstr>
      <vt:lpstr>Prävention - Motivationstipps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eiberl Birgit</dc:creator>
  <cp:lastModifiedBy>Seiberl Birgit</cp:lastModifiedBy>
  <cp:revision>3</cp:revision>
  <dcterms:created xsi:type="dcterms:W3CDTF">2025-02-25T12:14:39Z</dcterms:created>
  <dcterms:modified xsi:type="dcterms:W3CDTF">2025-02-25T12:40:03Z</dcterms:modified>
</cp:coreProperties>
</file>